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8" r:id="rId3"/>
    <p:sldId id="266" r:id="rId4"/>
    <p:sldId id="271" r:id="rId5"/>
    <p:sldId id="270" r:id="rId6"/>
    <p:sldId id="277" r:id="rId7"/>
  </p:sldIdLst>
  <p:sldSz cx="12192000" cy="6858000"/>
  <p:notesSz cx="6858000" cy="9144000"/>
  <p:custDataLst>
    <p:tags r:id="rId8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480F"/>
    <a:srgbClr val="DEC6AC"/>
    <a:srgbClr val="01B5B0"/>
    <a:srgbClr val="C8A784"/>
    <a:srgbClr val="66BF8E"/>
    <a:srgbClr val="C78E99"/>
    <a:srgbClr val="FFAE5C"/>
    <a:srgbClr val="5FAFCF"/>
    <a:srgbClr val="6FCDDE"/>
    <a:srgbClr val="7878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7" autoAdjust="0"/>
    <p:restoredTop sz="94660"/>
  </p:normalViewPr>
  <p:slideViewPr>
    <p:cSldViewPr snapToGrid="0">
      <p:cViewPr varScale="1">
        <p:scale>
          <a:sx n="71" d="100"/>
          <a:sy n="71" d="100"/>
        </p:scale>
        <p:origin x="6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C2FE040-AA25-6DB9-1CC8-5767E4B0C1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B4E85CB-77AE-64B1-A27F-A1C2383C0D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8544E5-98DC-BDFD-A308-ACF37EA94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A304803-BF6D-20D6-CEBB-96E472E837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4A94AF2-C697-8C6E-FAB4-8562A5108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46563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8D4CAE3-0B4C-29C2-4071-7632940BE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A8036B98-3FE2-5DC4-DB48-AE8DEFE895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0601028-0FCE-1470-4F5C-7E089A6DDB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51031D0-EB43-1D65-B555-AE67EE762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D14A5C2-A51E-6DA5-1B9E-70D23C417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95780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10E9B852-2552-3EFA-E95F-3DA6366452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476AB9E-83E9-85F7-573F-F80B6243D4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AEDCA4E-1B25-E796-4725-E65B0FFD55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CDD1245-D8A4-4821-D915-512353E58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D431A63-4323-7DA0-329D-884EE1717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28342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0E9F4C6-0010-2CA7-75B9-992A140A78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9F96219-6299-9EE9-224A-4C9A8D6B77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48E82C1-CE7D-FF89-598F-F93E7538E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9F885B0-F674-0A7B-E82D-A67DCEA6F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07042E7-2149-D380-0680-86B14606E0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2966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6C35947-1184-5A10-C6BD-33DB882F2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7BFCD9A-FFA5-115C-791C-0EF072B3D2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77E0629-0D6B-4A91-F1D7-088A07A0E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10D6770-88C1-948D-4835-8CDDCACF1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E671276-F556-FFFB-5C7D-B9DBDC1EF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49630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3784E13-C364-F228-DCC6-D08CDE9C2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B6325B7-E321-CEB6-D9C0-633DC48085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0DA04D5-49C2-F78B-50C3-DC5966F846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C6DB749-4B4C-CDD9-A656-C2D9E2E307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EC5B589-FD30-0D6F-BFBD-3580E314CF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04D369B-DF53-247B-E12B-3F7D730BB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9942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5D1DF42-6076-454B-F574-B350C7408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C388207-8984-18F9-06E7-32464A93CB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C6AB73B-2611-46C3-25BF-B8C9DE6F2F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E14D875-EAFE-71A6-0CFF-61CB9D64DD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6CC371B-AACF-F451-A3AD-D3494912F7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446E474-06FE-E3AB-B7DB-E60C20811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1D41879-7D4B-AC85-17B0-56A82524E4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52220D-B0C1-8423-CADE-FD764CD37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59923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E337453-3ED7-2A52-E7A2-15403DB56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75800F2-A753-A65F-DCB0-ED1578C049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57AFC27-5770-8636-B6C1-2A125F4B3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E6412D5-FA41-BA85-1C61-E94BFEA12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7766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FB5E0B8-F2A2-9D27-62F0-3CAF991BEC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669FB6C-5F68-13DA-BF35-4006B0373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F44D95-7C52-7713-4A76-FBF587B72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5664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5FC3188-0746-9BB7-91DF-9F160F375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95B4891-B9CD-3EAB-80C7-4F75D0F10E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D242D2B-C545-973E-FD65-EBC6115738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2AEFE73-A405-A66B-2A05-899C3BC9C3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00D6AEC-B611-2096-23F9-96FFCEC33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7FD8978-ACAD-33BC-7F07-D30ED00A4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98058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C92BC5-E2A1-9C49-B038-0F347FA035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C64C1EAD-C794-EC75-618D-4B9FA27CE5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C874AA3-9D00-B9C9-8266-6C128982A4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918AA01-F801-4091-493E-80EA9AEEFC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6F72F67-8849-9224-ED58-46D53F3CE7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4DD4EE7-016B-713D-8BCF-9AF81336D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0508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65236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15" imgW="532" imgH="533" progId="TCLayout.ActiveDocument.1">
                  <p:embed/>
                </p:oleObj>
              </mc:Choice>
              <mc:Fallback>
                <p:oleObj name="Diapositive think-cell" r:id="rId15" imgW="532" imgH="5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D07A8CA-B77B-B5B4-B9CE-8F7826B06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7CFD178-21A3-CB94-C73B-90519CB799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BCA5E2F-86FE-1305-735A-58B555AD71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00582C-868F-46E5-ADED-31CF4E57AB45}" type="datetimeFigureOut">
              <a:rPr lang="fr-FR" smtClean="0"/>
              <a:t>13/01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5622C05-CCAF-183F-7FDF-29917740E7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0E8A5C5-B8F8-8E9B-6987-33A1988F95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CFFB9-11E0-4C93-BE3E-FDA7585B8D7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0812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11" Type="http://schemas.openxmlformats.org/officeDocument/2006/relationships/image" Target="../media/image14.png"/><Relationship Id="rId5" Type="http://schemas.openxmlformats.org/officeDocument/2006/relationships/image" Target="../media/image1.emf"/><Relationship Id="rId10" Type="http://schemas.openxmlformats.org/officeDocument/2006/relationships/image" Target="../media/image13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21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e think-cell" r:id="rId4" imgW="532" imgH="533" progId="TCLayout.ActiveDocument.1">
                  <p:embed/>
                </p:oleObj>
              </mc:Choice>
              <mc:Fallback>
                <p:oleObj name="Diapositive think-cell" r:id="rId4" imgW="532" imgH="5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e 11"/>
          <p:cNvGrpSpPr/>
          <p:nvPr/>
        </p:nvGrpSpPr>
        <p:grpSpPr>
          <a:xfrm>
            <a:off x="2435629" y="644236"/>
            <a:ext cx="4631198" cy="5943600"/>
            <a:chOff x="3070339" y="0"/>
            <a:chExt cx="5351463" cy="6858000"/>
          </a:xfrm>
        </p:grpSpPr>
        <p:pic>
          <p:nvPicPr>
            <p:cNvPr id="3074" name="Picture 2" descr="Bergère dans l'église - livre à colorier à imprimer et à mettre en ligne">
              <a:extLst>
                <a:ext uri="{FF2B5EF4-FFF2-40B4-BE49-F238E27FC236}">
                  <a16:creationId xmlns:a16="http://schemas.microsoft.com/office/drawing/2014/main" id="{F4E45C59-C253-25AC-0BA3-B3D6FA4920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70339" y="0"/>
              <a:ext cx="5351463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oupe 2">
              <a:extLst>
                <a:ext uri="{FF2B5EF4-FFF2-40B4-BE49-F238E27FC236}">
                  <a16:creationId xmlns:a16="http://schemas.microsoft.com/office/drawing/2014/main" id="{B63CC934-635B-0933-17B3-362A4E53DB81}"/>
                </a:ext>
              </a:extLst>
            </p:cNvPr>
            <p:cNvGrpSpPr/>
            <p:nvPr/>
          </p:nvGrpSpPr>
          <p:grpSpPr>
            <a:xfrm>
              <a:off x="6172686" y="2976007"/>
              <a:ext cx="1726827" cy="2032181"/>
              <a:chOff x="9036422" y="3566557"/>
              <a:chExt cx="1726827" cy="2032181"/>
            </a:xfrm>
          </p:grpSpPr>
          <p:sp>
            <p:nvSpPr>
              <p:cNvPr id="2" name="Forme libre : forme 1">
                <a:extLst>
                  <a:ext uri="{FF2B5EF4-FFF2-40B4-BE49-F238E27FC236}">
                    <a16:creationId xmlns:a16="http://schemas.microsoft.com/office/drawing/2014/main" id="{6ADF222F-4E2B-D229-08DC-BF29B6DDD7F6}"/>
                  </a:ext>
                </a:extLst>
              </p:cNvPr>
              <p:cNvSpPr/>
              <p:nvPr/>
            </p:nvSpPr>
            <p:spPr>
              <a:xfrm>
                <a:off x="9077325" y="3609975"/>
                <a:ext cx="1652588" cy="1966913"/>
              </a:xfrm>
              <a:custGeom>
                <a:avLst/>
                <a:gdLst>
                  <a:gd name="connsiteX0" fmla="*/ 0 w 1652588"/>
                  <a:gd name="connsiteY0" fmla="*/ 709613 h 1966913"/>
                  <a:gd name="connsiteX1" fmla="*/ 138113 w 1652588"/>
                  <a:gd name="connsiteY1" fmla="*/ 676275 h 1966913"/>
                  <a:gd name="connsiteX2" fmla="*/ 223838 w 1652588"/>
                  <a:gd name="connsiteY2" fmla="*/ 628650 h 1966913"/>
                  <a:gd name="connsiteX3" fmla="*/ 404813 w 1652588"/>
                  <a:gd name="connsiteY3" fmla="*/ 590550 h 1966913"/>
                  <a:gd name="connsiteX4" fmla="*/ 504825 w 1652588"/>
                  <a:gd name="connsiteY4" fmla="*/ 490538 h 1966913"/>
                  <a:gd name="connsiteX5" fmla="*/ 595313 w 1652588"/>
                  <a:gd name="connsiteY5" fmla="*/ 338138 h 1966913"/>
                  <a:gd name="connsiteX6" fmla="*/ 714375 w 1652588"/>
                  <a:gd name="connsiteY6" fmla="*/ 266700 h 1966913"/>
                  <a:gd name="connsiteX7" fmla="*/ 790575 w 1652588"/>
                  <a:gd name="connsiteY7" fmla="*/ 257175 h 1966913"/>
                  <a:gd name="connsiteX8" fmla="*/ 814388 w 1652588"/>
                  <a:gd name="connsiteY8" fmla="*/ 223838 h 1966913"/>
                  <a:gd name="connsiteX9" fmla="*/ 776288 w 1652588"/>
                  <a:gd name="connsiteY9" fmla="*/ 147638 h 1966913"/>
                  <a:gd name="connsiteX10" fmla="*/ 809625 w 1652588"/>
                  <a:gd name="connsiteY10" fmla="*/ 33338 h 1966913"/>
                  <a:gd name="connsiteX11" fmla="*/ 862013 w 1652588"/>
                  <a:gd name="connsiteY11" fmla="*/ 0 h 1966913"/>
                  <a:gd name="connsiteX12" fmla="*/ 957263 w 1652588"/>
                  <a:gd name="connsiteY12" fmla="*/ 14288 h 1966913"/>
                  <a:gd name="connsiteX13" fmla="*/ 990600 w 1652588"/>
                  <a:gd name="connsiteY13" fmla="*/ 128588 h 1966913"/>
                  <a:gd name="connsiteX14" fmla="*/ 981075 w 1652588"/>
                  <a:gd name="connsiteY14" fmla="*/ 185738 h 1966913"/>
                  <a:gd name="connsiteX15" fmla="*/ 947738 w 1652588"/>
                  <a:gd name="connsiteY15" fmla="*/ 223838 h 1966913"/>
                  <a:gd name="connsiteX16" fmla="*/ 966788 w 1652588"/>
                  <a:gd name="connsiteY16" fmla="*/ 280988 h 1966913"/>
                  <a:gd name="connsiteX17" fmla="*/ 1009650 w 1652588"/>
                  <a:gd name="connsiteY17" fmla="*/ 261938 h 1966913"/>
                  <a:gd name="connsiteX18" fmla="*/ 1152525 w 1652588"/>
                  <a:gd name="connsiteY18" fmla="*/ 376238 h 1966913"/>
                  <a:gd name="connsiteX19" fmla="*/ 1223963 w 1652588"/>
                  <a:gd name="connsiteY19" fmla="*/ 523875 h 1966913"/>
                  <a:gd name="connsiteX20" fmla="*/ 1323975 w 1652588"/>
                  <a:gd name="connsiteY20" fmla="*/ 628650 h 1966913"/>
                  <a:gd name="connsiteX21" fmla="*/ 1643063 w 1652588"/>
                  <a:gd name="connsiteY21" fmla="*/ 738188 h 1966913"/>
                  <a:gd name="connsiteX22" fmla="*/ 1652588 w 1652588"/>
                  <a:gd name="connsiteY22" fmla="*/ 804863 h 1966913"/>
                  <a:gd name="connsiteX23" fmla="*/ 1509713 w 1652588"/>
                  <a:gd name="connsiteY23" fmla="*/ 800100 h 1966913"/>
                  <a:gd name="connsiteX24" fmla="*/ 1466850 w 1652588"/>
                  <a:gd name="connsiteY24" fmla="*/ 838200 h 1966913"/>
                  <a:gd name="connsiteX25" fmla="*/ 1362075 w 1652588"/>
                  <a:gd name="connsiteY25" fmla="*/ 1100138 h 1966913"/>
                  <a:gd name="connsiteX26" fmla="*/ 1243013 w 1652588"/>
                  <a:gd name="connsiteY26" fmla="*/ 1462088 h 1966913"/>
                  <a:gd name="connsiteX27" fmla="*/ 1100138 w 1652588"/>
                  <a:gd name="connsiteY27" fmla="*/ 1704975 h 1966913"/>
                  <a:gd name="connsiteX28" fmla="*/ 1100138 w 1652588"/>
                  <a:gd name="connsiteY28" fmla="*/ 1833563 h 1966913"/>
                  <a:gd name="connsiteX29" fmla="*/ 1004888 w 1652588"/>
                  <a:gd name="connsiteY29" fmla="*/ 1843088 h 1966913"/>
                  <a:gd name="connsiteX30" fmla="*/ 1038225 w 1652588"/>
                  <a:gd name="connsiteY30" fmla="*/ 1909763 h 1966913"/>
                  <a:gd name="connsiteX31" fmla="*/ 990600 w 1652588"/>
                  <a:gd name="connsiteY31" fmla="*/ 1957388 h 1966913"/>
                  <a:gd name="connsiteX32" fmla="*/ 919163 w 1652588"/>
                  <a:gd name="connsiteY32" fmla="*/ 1866900 h 1966913"/>
                  <a:gd name="connsiteX33" fmla="*/ 776288 w 1652588"/>
                  <a:gd name="connsiteY33" fmla="*/ 1862138 h 1966913"/>
                  <a:gd name="connsiteX34" fmla="*/ 742950 w 1652588"/>
                  <a:gd name="connsiteY34" fmla="*/ 1938338 h 1966913"/>
                  <a:gd name="connsiteX35" fmla="*/ 714375 w 1652588"/>
                  <a:gd name="connsiteY35" fmla="*/ 1966913 h 1966913"/>
                  <a:gd name="connsiteX36" fmla="*/ 666750 w 1652588"/>
                  <a:gd name="connsiteY36" fmla="*/ 1933575 h 1966913"/>
                  <a:gd name="connsiteX37" fmla="*/ 695325 w 1652588"/>
                  <a:gd name="connsiteY37" fmla="*/ 1843088 h 1966913"/>
                  <a:gd name="connsiteX38" fmla="*/ 581025 w 1652588"/>
                  <a:gd name="connsiteY38" fmla="*/ 1785938 h 1966913"/>
                  <a:gd name="connsiteX39" fmla="*/ 595313 w 1652588"/>
                  <a:gd name="connsiteY39" fmla="*/ 1685925 h 1966913"/>
                  <a:gd name="connsiteX40" fmla="*/ 481013 w 1652588"/>
                  <a:gd name="connsiteY40" fmla="*/ 1585913 h 1966913"/>
                  <a:gd name="connsiteX41" fmla="*/ 381000 w 1652588"/>
                  <a:gd name="connsiteY41" fmla="*/ 1357313 h 1966913"/>
                  <a:gd name="connsiteX42" fmla="*/ 309563 w 1652588"/>
                  <a:gd name="connsiteY42" fmla="*/ 1023938 h 1966913"/>
                  <a:gd name="connsiteX43" fmla="*/ 233363 w 1652588"/>
                  <a:gd name="connsiteY43" fmla="*/ 790575 h 1966913"/>
                  <a:gd name="connsiteX44" fmla="*/ 195263 w 1652588"/>
                  <a:gd name="connsiteY44" fmla="*/ 781050 h 1966913"/>
                  <a:gd name="connsiteX45" fmla="*/ 180975 w 1652588"/>
                  <a:gd name="connsiteY45" fmla="*/ 752475 h 1966913"/>
                  <a:gd name="connsiteX46" fmla="*/ 14288 w 1652588"/>
                  <a:gd name="connsiteY46" fmla="*/ 771525 h 1966913"/>
                  <a:gd name="connsiteX47" fmla="*/ 0 w 1652588"/>
                  <a:gd name="connsiteY47" fmla="*/ 709613 h 1966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652588" h="1966913">
                    <a:moveTo>
                      <a:pt x="0" y="709613"/>
                    </a:moveTo>
                    <a:lnTo>
                      <a:pt x="138113" y="676275"/>
                    </a:lnTo>
                    <a:lnTo>
                      <a:pt x="223838" y="628650"/>
                    </a:lnTo>
                    <a:lnTo>
                      <a:pt x="404813" y="590550"/>
                    </a:lnTo>
                    <a:lnTo>
                      <a:pt x="504825" y="490538"/>
                    </a:lnTo>
                    <a:lnTo>
                      <a:pt x="595313" y="338138"/>
                    </a:lnTo>
                    <a:lnTo>
                      <a:pt x="714375" y="266700"/>
                    </a:lnTo>
                    <a:lnTo>
                      <a:pt x="790575" y="257175"/>
                    </a:lnTo>
                    <a:lnTo>
                      <a:pt x="814388" y="223838"/>
                    </a:lnTo>
                    <a:lnTo>
                      <a:pt x="776288" y="147638"/>
                    </a:lnTo>
                    <a:lnTo>
                      <a:pt x="809625" y="33338"/>
                    </a:lnTo>
                    <a:lnTo>
                      <a:pt x="862013" y="0"/>
                    </a:lnTo>
                    <a:lnTo>
                      <a:pt x="957263" y="14288"/>
                    </a:lnTo>
                    <a:lnTo>
                      <a:pt x="990600" y="128588"/>
                    </a:lnTo>
                    <a:lnTo>
                      <a:pt x="981075" y="185738"/>
                    </a:lnTo>
                    <a:lnTo>
                      <a:pt x="947738" y="223838"/>
                    </a:lnTo>
                    <a:lnTo>
                      <a:pt x="966788" y="280988"/>
                    </a:lnTo>
                    <a:lnTo>
                      <a:pt x="1009650" y="261938"/>
                    </a:lnTo>
                    <a:lnTo>
                      <a:pt x="1152525" y="376238"/>
                    </a:lnTo>
                    <a:lnTo>
                      <a:pt x="1223963" y="523875"/>
                    </a:lnTo>
                    <a:lnTo>
                      <a:pt x="1323975" y="628650"/>
                    </a:lnTo>
                    <a:lnTo>
                      <a:pt x="1643063" y="738188"/>
                    </a:lnTo>
                    <a:lnTo>
                      <a:pt x="1652588" y="804863"/>
                    </a:lnTo>
                    <a:lnTo>
                      <a:pt x="1509713" y="800100"/>
                    </a:lnTo>
                    <a:lnTo>
                      <a:pt x="1466850" y="838200"/>
                    </a:lnTo>
                    <a:lnTo>
                      <a:pt x="1362075" y="1100138"/>
                    </a:lnTo>
                    <a:lnTo>
                      <a:pt x="1243013" y="1462088"/>
                    </a:lnTo>
                    <a:lnTo>
                      <a:pt x="1100138" y="1704975"/>
                    </a:lnTo>
                    <a:lnTo>
                      <a:pt x="1100138" y="1833563"/>
                    </a:lnTo>
                    <a:lnTo>
                      <a:pt x="1004888" y="1843088"/>
                    </a:lnTo>
                    <a:lnTo>
                      <a:pt x="1038225" y="1909763"/>
                    </a:lnTo>
                    <a:lnTo>
                      <a:pt x="990600" y="1957388"/>
                    </a:lnTo>
                    <a:lnTo>
                      <a:pt x="919163" y="1866900"/>
                    </a:lnTo>
                    <a:lnTo>
                      <a:pt x="776288" y="1862138"/>
                    </a:lnTo>
                    <a:lnTo>
                      <a:pt x="742950" y="1938338"/>
                    </a:lnTo>
                    <a:lnTo>
                      <a:pt x="714375" y="1966913"/>
                    </a:lnTo>
                    <a:lnTo>
                      <a:pt x="666750" y="1933575"/>
                    </a:lnTo>
                    <a:lnTo>
                      <a:pt x="695325" y="1843088"/>
                    </a:lnTo>
                    <a:lnTo>
                      <a:pt x="581025" y="1785938"/>
                    </a:lnTo>
                    <a:lnTo>
                      <a:pt x="595313" y="1685925"/>
                    </a:lnTo>
                    <a:lnTo>
                      <a:pt x="481013" y="1585913"/>
                    </a:lnTo>
                    <a:lnTo>
                      <a:pt x="381000" y="1357313"/>
                    </a:lnTo>
                    <a:lnTo>
                      <a:pt x="309563" y="1023938"/>
                    </a:lnTo>
                    <a:lnTo>
                      <a:pt x="233363" y="790575"/>
                    </a:lnTo>
                    <a:lnTo>
                      <a:pt x="195263" y="781050"/>
                    </a:lnTo>
                    <a:lnTo>
                      <a:pt x="180975" y="752475"/>
                    </a:lnTo>
                    <a:lnTo>
                      <a:pt x="14288" y="771525"/>
                    </a:lnTo>
                    <a:lnTo>
                      <a:pt x="0" y="70961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3076" name="Picture 4" descr="Prêtres et Diacres – Paroisse St Etienne en Drouais">
                <a:extLst>
                  <a:ext uri="{FF2B5EF4-FFF2-40B4-BE49-F238E27FC236}">
                    <a16:creationId xmlns:a16="http://schemas.microsoft.com/office/drawing/2014/main" id="{93FBDD07-7D5E-AB84-0DAC-4B82B561671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DFDFD"/>
                  </a:clrFrom>
                  <a:clrTo>
                    <a:srgbClr val="FDFD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36422" y="3566557"/>
                <a:ext cx="1726827" cy="20321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0" name="Forme libre 9"/>
            <p:cNvSpPr/>
            <p:nvPr/>
          </p:nvSpPr>
          <p:spPr>
            <a:xfrm>
              <a:off x="6073775" y="4921250"/>
              <a:ext cx="244475" cy="498475"/>
            </a:xfrm>
            <a:custGeom>
              <a:avLst/>
              <a:gdLst>
                <a:gd name="connsiteX0" fmla="*/ 152400 w 244475"/>
                <a:gd name="connsiteY0" fmla="*/ 0 h 498475"/>
                <a:gd name="connsiteX1" fmla="*/ 212725 w 244475"/>
                <a:gd name="connsiteY1" fmla="*/ 269875 h 498475"/>
                <a:gd name="connsiteX2" fmla="*/ 244475 w 244475"/>
                <a:gd name="connsiteY2" fmla="*/ 434975 h 498475"/>
                <a:gd name="connsiteX3" fmla="*/ 225425 w 244475"/>
                <a:gd name="connsiteY3" fmla="*/ 498475 h 498475"/>
                <a:gd name="connsiteX4" fmla="*/ 63500 w 244475"/>
                <a:gd name="connsiteY4" fmla="*/ 495300 h 498475"/>
                <a:gd name="connsiteX5" fmla="*/ 28575 w 244475"/>
                <a:gd name="connsiteY5" fmla="*/ 492125 h 498475"/>
                <a:gd name="connsiteX6" fmla="*/ 0 w 244475"/>
                <a:gd name="connsiteY6" fmla="*/ 346075 h 498475"/>
                <a:gd name="connsiteX7" fmla="*/ 12700 w 244475"/>
                <a:gd name="connsiteY7" fmla="*/ 149225 h 498475"/>
                <a:gd name="connsiteX8" fmla="*/ 19050 w 244475"/>
                <a:gd name="connsiteY8" fmla="*/ 12700 h 498475"/>
                <a:gd name="connsiteX9" fmla="*/ 73025 w 244475"/>
                <a:gd name="connsiteY9" fmla="*/ 66675 h 498475"/>
                <a:gd name="connsiteX10" fmla="*/ 152400 w 244475"/>
                <a:gd name="connsiteY10" fmla="*/ 0 h 498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4475" h="498475">
                  <a:moveTo>
                    <a:pt x="152400" y="0"/>
                  </a:moveTo>
                  <a:lnTo>
                    <a:pt x="212725" y="269875"/>
                  </a:lnTo>
                  <a:lnTo>
                    <a:pt x="244475" y="434975"/>
                  </a:lnTo>
                  <a:lnTo>
                    <a:pt x="225425" y="498475"/>
                  </a:lnTo>
                  <a:lnTo>
                    <a:pt x="63500" y="495300"/>
                  </a:lnTo>
                  <a:lnTo>
                    <a:pt x="28575" y="492125"/>
                  </a:lnTo>
                  <a:lnTo>
                    <a:pt x="0" y="346075"/>
                  </a:lnTo>
                  <a:lnTo>
                    <a:pt x="12700" y="149225"/>
                  </a:lnTo>
                  <a:lnTo>
                    <a:pt x="19050" y="12700"/>
                  </a:lnTo>
                  <a:lnTo>
                    <a:pt x="73025" y="66675"/>
                  </a:lnTo>
                  <a:lnTo>
                    <a:pt x="15240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" name="Groupe 3"/>
          <p:cNvGrpSpPr/>
          <p:nvPr/>
        </p:nvGrpSpPr>
        <p:grpSpPr>
          <a:xfrm>
            <a:off x="1" y="63238"/>
            <a:ext cx="12011890" cy="6636820"/>
            <a:chOff x="1" y="63238"/>
            <a:chExt cx="12011890" cy="6636820"/>
          </a:xfrm>
        </p:grpSpPr>
        <p:sp>
          <p:nvSpPr>
            <p:cNvPr id="6" name="Rectangle à coins arrondis 5"/>
            <p:cNvSpPr/>
            <p:nvPr/>
          </p:nvSpPr>
          <p:spPr>
            <a:xfrm>
              <a:off x="124691" y="133004"/>
              <a:ext cx="11887200" cy="6567054"/>
            </a:xfrm>
            <a:prstGeom prst="roundRect">
              <a:avLst>
                <a:gd name="adj" fmla="val 7173"/>
              </a:avLst>
            </a:prstGeom>
            <a:noFill/>
            <a:ln w="38100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" y="99752"/>
              <a:ext cx="997526" cy="10557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9" name="Image 8"/>
            <p:cNvPicPr>
              <a:picLocks noChangeAspect="1"/>
            </p:cNvPicPr>
            <p:nvPr/>
          </p:nvPicPr>
          <p:blipFill rotWithShape="1">
            <a:blip r:embed="rId8"/>
            <a:srcRect r="39326" b="15289"/>
            <a:stretch/>
          </p:blipFill>
          <p:spPr>
            <a:xfrm>
              <a:off x="63472" y="63238"/>
              <a:ext cx="983933" cy="1161996"/>
            </a:xfrm>
            <a:prstGeom prst="rect">
              <a:avLst/>
            </a:prstGeom>
          </p:spPr>
        </p:pic>
      </p:grpSp>
      <p:sp>
        <p:nvSpPr>
          <p:cNvPr id="5" name="ZoneTexte 4"/>
          <p:cNvSpPr txBox="1"/>
          <p:nvPr/>
        </p:nvSpPr>
        <p:spPr>
          <a:xfrm>
            <a:off x="1074622" y="541065"/>
            <a:ext cx="24144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>
                <a:solidFill>
                  <a:srgbClr val="787878"/>
                </a:solidFill>
                <a:latin typeface="Comic Sans MS" panose="030F0702030302020204" pitchFamily="66" charset="0"/>
              </a:rPr>
              <a:t>Appel en équipe</a:t>
            </a:r>
          </a:p>
        </p:txBody>
      </p:sp>
      <p:pic>
        <p:nvPicPr>
          <p:cNvPr id="14" name="Picture 2" descr="Le coin des petits">
            <a:extLst>
              <a:ext uri="{FF2B5EF4-FFF2-40B4-BE49-F238E27FC236}">
                <a16:creationId xmlns:a16="http://schemas.microsoft.com/office/drawing/2014/main" id="{EF826EB8-56D1-57AD-D9FD-9BC7A18FC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2422" y="771897"/>
            <a:ext cx="3810685" cy="3810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3431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our une Eglise accueillante ... - Paroisse de Saint Joseph en Mauges - La  Boissère sur Evre - Botz en Mauges - Chaudron en Mauges - La Salle Aubry -  La Chapelle">
            <a:extLst>
              <a:ext uri="{FF2B5EF4-FFF2-40B4-BE49-F238E27FC236}">
                <a16:creationId xmlns:a16="http://schemas.microsoft.com/office/drawing/2014/main" id="{FD0EF3BF-DAE3-960E-F977-8FA1DC699C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4"/>
          <a:stretch/>
        </p:blipFill>
        <p:spPr bwMode="auto">
          <a:xfrm>
            <a:off x="2800729" y="1707998"/>
            <a:ext cx="5559669" cy="4261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e 1">
            <a:extLst>
              <a:ext uri="{FF2B5EF4-FFF2-40B4-BE49-F238E27FC236}">
                <a16:creationId xmlns:a16="http://schemas.microsoft.com/office/drawing/2014/main" id="{490C8594-8015-2F40-BBB5-92C54D28B410}"/>
              </a:ext>
            </a:extLst>
          </p:cNvPr>
          <p:cNvGrpSpPr/>
          <p:nvPr/>
        </p:nvGrpSpPr>
        <p:grpSpPr>
          <a:xfrm>
            <a:off x="8338709" y="1091241"/>
            <a:ext cx="894042" cy="2932981"/>
            <a:chOff x="4597879" y="1785667"/>
            <a:chExt cx="1325592" cy="3873261"/>
          </a:xfrm>
        </p:grpSpPr>
        <p:pic>
          <p:nvPicPr>
            <p:cNvPr id="3" name="Picture 2" descr="Baptêmes en l'Eglise Catholique de l'est de la Creuse">
              <a:extLst>
                <a:ext uri="{FF2B5EF4-FFF2-40B4-BE49-F238E27FC236}">
                  <a16:creationId xmlns:a16="http://schemas.microsoft.com/office/drawing/2014/main" id="{A2F9FDE1-A157-F621-A369-29429FC71F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875" t="13199" b="6416"/>
            <a:stretch/>
          </p:blipFill>
          <p:spPr bwMode="auto">
            <a:xfrm>
              <a:off x="4666890" y="1785667"/>
              <a:ext cx="1256581" cy="38732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Forme libre : forme 3">
              <a:extLst>
                <a:ext uri="{FF2B5EF4-FFF2-40B4-BE49-F238E27FC236}">
                  <a16:creationId xmlns:a16="http://schemas.microsoft.com/office/drawing/2014/main" id="{0F59752D-FC43-666D-1DE9-584BC43B9FA1}"/>
                </a:ext>
              </a:extLst>
            </p:cNvPr>
            <p:cNvSpPr/>
            <p:nvPr/>
          </p:nvSpPr>
          <p:spPr>
            <a:xfrm>
              <a:off x="4597879" y="2389517"/>
              <a:ext cx="232913" cy="569343"/>
            </a:xfrm>
            <a:custGeom>
              <a:avLst/>
              <a:gdLst>
                <a:gd name="connsiteX0" fmla="*/ 0 w 232913"/>
                <a:gd name="connsiteY0" fmla="*/ 0 h 569343"/>
                <a:gd name="connsiteX1" fmla="*/ 181155 w 232913"/>
                <a:gd name="connsiteY1" fmla="*/ 198408 h 569343"/>
                <a:gd name="connsiteX2" fmla="*/ 232913 w 232913"/>
                <a:gd name="connsiteY2" fmla="*/ 448574 h 569343"/>
                <a:gd name="connsiteX3" fmla="*/ 232913 w 232913"/>
                <a:gd name="connsiteY3" fmla="*/ 569343 h 569343"/>
                <a:gd name="connsiteX4" fmla="*/ 17253 w 232913"/>
                <a:gd name="connsiteY4" fmla="*/ 457200 h 569343"/>
                <a:gd name="connsiteX5" fmla="*/ 0 w 232913"/>
                <a:gd name="connsiteY5" fmla="*/ 0 h 56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913" h="569343">
                  <a:moveTo>
                    <a:pt x="0" y="0"/>
                  </a:moveTo>
                  <a:lnTo>
                    <a:pt x="181155" y="198408"/>
                  </a:lnTo>
                  <a:lnTo>
                    <a:pt x="232913" y="448574"/>
                  </a:lnTo>
                  <a:lnTo>
                    <a:pt x="232913" y="569343"/>
                  </a:lnTo>
                  <a:lnTo>
                    <a:pt x="17253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F2BBC4AD-9200-9F00-1577-0DB36A66271D}"/>
                </a:ext>
              </a:extLst>
            </p:cNvPr>
            <p:cNvSpPr/>
            <p:nvPr/>
          </p:nvSpPr>
          <p:spPr>
            <a:xfrm>
              <a:off x="4597879" y="4649637"/>
              <a:ext cx="232913" cy="353684"/>
            </a:xfrm>
            <a:custGeom>
              <a:avLst/>
              <a:gdLst>
                <a:gd name="connsiteX0" fmla="*/ 17253 w 146649"/>
                <a:gd name="connsiteY0" fmla="*/ 0 h 293298"/>
                <a:gd name="connsiteX1" fmla="*/ 146649 w 146649"/>
                <a:gd name="connsiteY1" fmla="*/ 181155 h 293298"/>
                <a:gd name="connsiteX2" fmla="*/ 69012 w 146649"/>
                <a:gd name="connsiteY2" fmla="*/ 293298 h 293298"/>
                <a:gd name="connsiteX3" fmla="*/ 0 w 146649"/>
                <a:gd name="connsiteY3" fmla="*/ 138023 h 293298"/>
                <a:gd name="connsiteX4" fmla="*/ 17253 w 146649"/>
                <a:gd name="connsiteY4" fmla="*/ 0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649" h="293298">
                  <a:moveTo>
                    <a:pt x="17253" y="0"/>
                  </a:moveTo>
                  <a:lnTo>
                    <a:pt x="146649" y="181155"/>
                  </a:lnTo>
                  <a:lnTo>
                    <a:pt x="69012" y="293298"/>
                  </a:lnTo>
                  <a:lnTo>
                    <a:pt x="0" y="138023"/>
                  </a:lnTo>
                  <a:lnTo>
                    <a:pt x="1725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157DEC9B-6B5C-81D2-6BC6-C83E83896A78}"/>
                </a:ext>
              </a:extLst>
            </p:cNvPr>
            <p:cNvSpPr/>
            <p:nvPr/>
          </p:nvSpPr>
          <p:spPr>
            <a:xfrm>
              <a:off x="4597879" y="3933645"/>
              <a:ext cx="146649" cy="293298"/>
            </a:xfrm>
            <a:custGeom>
              <a:avLst/>
              <a:gdLst>
                <a:gd name="connsiteX0" fmla="*/ 17253 w 146649"/>
                <a:gd name="connsiteY0" fmla="*/ 0 h 293298"/>
                <a:gd name="connsiteX1" fmla="*/ 146649 w 146649"/>
                <a:gd name="connsiteY1" fmla="*/ 181155 h 293298"/>
                <a:gd name="connsiteX2" fmla="*/ 69012 w 146649"/>
                <a:gd name="connsiteY2" fmla="*/ 293298 h 293298"/>
                <a:gd name="connsiteX3" fmla="*/ 0 w 146649"/>
                <a:gd name="connsiteY3" fmla="*/ 138023 h 293298"/>
                <a:gd name="connsiteX4" fmla="*/ 17253 w 146649"/>
                <a:gd name="connsiteY4" fmla="*/ 0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649" h="293298">
                  <a:moveTo>
                    <a:pt x="17253" y="0"/>
                  </a:moveTo>
                  <a:lnTo>
                    <a:pt x="146649" y="181155"/>
                  </a:lnTo>
                  <a:lnTo>
                    <a:pt x="69012" y="293298"/>
                  </a:lnTo>
                  <a:lnTo>
                    <a:pt x="0" y="138023"/>
                  </a:lnTo>
                  <a:lnTo>
                    <a:pt x="1725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170F404E-645F-C13C-2AE0-87E9FB6795B2}"/>
                </a:ext>
              </a:extLst>
            </p:cNvPr>
            <p:cNvSpPr/>
            <p:nvPr/>
          </p:nvSpPr>
          <p:spPr>
            <a:xfrm>
              <a:off x="5538158" y="4804913"/>
              <a:ext cx="207034" cy="819510"/>
            </a:xfrm>
            <a:custGeom>
              <a:avLst/>
              <a:gdLst>
                <a:gd name="connsiteX0" fmla="*/ 0 w 207034"/>
                <a:gd name="connsiteY0" fmla="*/ 0 h 819510"/>
                <a:gd name="connsiteX1" fmla="*/ 207034 w 207034"/>
                <a:gd name="connsiteY1" fmla="*/ 17253 h 819510"/>
                <a:gd name="connsiteX2" fmla="*/ 172529 w 207034"/>
                <a:gd name="connsiteY2" fmla="*/ 819510 h 819510"/>
                <a:gd name="connsiteX3" fmla="*/ 0 w 207034"/>
                <a:gd name="connsiteY3" fmla="*/ 793630 h 819510"/>
                <a:gd name="connsiteX4" fmla="*/ 0 w 207034"/>
                <a:gd name="connsiteY4" fmla="*/ 0 h 819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034" h="819510">
                  <a:moveTo>
                    <a:pt x="0" y="0"/>
                  </a:moveTo>
                  <a:lnTo>
                    <a:pt x="207034" y="17253"/>
                  </a:lnTo>
                  <a:lnTo>
                    <a:pt x="172529" y="819510"/>
                  </a:lnTo>
                  <a:lnTo>
                    <a:pt x="0" y="7936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1" y="63238"/>
            <a:ext cx="12011890" cy="6636820"/>
            <a:chOff x="1" y="63238"/>
            <a:chExt cx="12011890" cy="6636820"/>
          </a:xfrm>
        </p:grpSpPr>
        <p:sp>
          <p:nvSpPr>
            <p:cNvPr id="13" name="Rectangle à coins arrondis 12"/>
            <p:cNvSpPr/>
            <p:nvPr/>
          </p:nvSpPr>
          <p:spPr>
            <a:xfrm>
              <a:off x="124691" y="133004"/>
              <a:ext cx="11887200" cy="6567054"/>
            </a:xfrm>
            <a:prstGeom prst="roundRect">
              <a:avLst>
                <a:gd name="adj" fmla="val 7173"/>
              </a:avLst>
            </a:prstGeom>
            <a:noFill/>
            <a:ln w="38100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" y="99752"/>
              <a:ext cx="997526" cy="10557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5" name="Image 14"/>
            <p:cNvPicPr>
              <a:picLocks noChangeAspect="1"/>
            </p:cNvPicPr>
            <p:nvPr/>
          </p:nvPicPr>
          <p:blipFill rotWithShape="1">
            <a:blip r:embed="rId4"/>
            <a:srcRect r="39326" b="15289"/>
            <a:stretch/>
          </p:blipFill>
          <p:spPr>
            <a:xfrm>
              <a:off x="63472" y="63238"/>
              <a:ext cx="983933" cy="1161996"/>
            </a:xfrm>
            <a:prstGeom prst="rect">
              <a:avLst/>
            </a:prstGeom>
          </p:spPr>
        </p:pic>
      </p:grpSp>
      <p:sp>
        <p:nvSpPr>
          <p:cNvPr id="16" name="ZoneTexte 15"/>
          <p:cNvSpPr txBox="1"/>
          <p:nvPr/>
        </p:nvSpPr>
        <p:spPr>
          <a:xfrm>
            <a:off x="1074622" y="541065"/>
            <a:ext cx="66720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>
                <a:solidFill>
                  <a:srgbClr val="787878"/>
                </a:solidFill>
                <a:latin typeface="Comic Sans MS" panose="030F0702030302020204" pitchFamily="66" charset="0"/>
              </a:rPr>
              <a:t>Une expérience riche et de belles rencontres</a:t>
            </a:r>
          </a:p>
        </p:txBody>
      </p:sp>
    </p:spTree>
    <p:extLst>
      <p:ext uri="{BB962C8B-B14F-4D97-AF65-F5344CB8AC3E}">
        <p14:creationId xmlns:p14="http://schemas.microsoft.com/office/powerpoint/2010/main" val="5127380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Équipe d'Animation Paroissiale (EAP) — 1. Paroisse Saint-Louis">
            <a:extLst>
              <a:ext uri="{FF2B5EF4-FFF2-40B4-BE49-F238E27FC236}">
                <a16:creationId xmlns:a16="http://schemas.microsoft.com/office/drawing/2014/main" id="{A95C8E12-C2EC-2928-76A3-D5988BB008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98127" y="1378211"/>
            <a:ext cx="4054416" cy="3711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90 300+ écouter Stock Illustrations, graphiques vectoriels libre de droits  et Clip Art - iStock | Oreille, Parler, Tendre l'oreille">
            <a:extLst>
              <a:ext uri="{FF2B5EF4-FFF2-40B4-BE49-F238E27FC236}">
                <a16:creationId xmlns:a16="http://schemas.microsoft.com/office/drawing/2014/main" id="{A28079DA-6366-F7AC-49E6-D618BC320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578" y="1821587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e 6"/>
          <p:cNvGrpSpPr/>
          <p:nvPr/>
        </p:nvGrpSpPr>
        <p:grpSpPr>
          <a:xfrm>
            <a:off x="1" y="63238"/>
            <a:ext cx="12011890" cy="6636820"/>
            <a:chOff x="1" y="63238"/>
            <a:chExt cx="12011890" cy="6636820"/>
          </a:xfrm>
        </p:grpSpPr>
        <p:sp>
          <p:nvSpPr>
            <p:cNvPr id="8" name="Rectangle à coins arrondis 7"/>
            <p:cNvSpPr/>
            <p:nvPr/>
          </p:nvSpPr>
          <p:spPr>
            <a:xfrm>
              <a:off x="124691" y="133004"/>
              <a:ext cx="11887200" cy="6567054"/>
            </a:xfrm>
            <a:prstGeom prst="roundRect">
              <a:avLst>
                <a:gd name="adj" fmla="val 7173"/>
              </a:avLst>
            </a:prstGeom>
            <a:noFill/>
            <a:ln w="38100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" y="99752"/>
              <a:ext cx="997526" cy="10557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4"/>
            <a:srcRect r="39326" b="15289"/>
            <a:stretch/>
          </p:blipFill>
          <p:spPr>
            <a:xfrm>
              <a:off x="63472" y="63238"/>
              <a:ext cx="983933" cy="1161996"/>
            </a:xfrm>
            <a:prstGeom prst="rect">
              <a:avLst/>
            </a:prstGeom>
          </p:spPr>
        </p:pic>
      </p:grpSp>
      <p:sp>
        <p:nvSpPr>
          <p:cNvPr id="11" name="ZoneTexte 10"/>
          <p:cNvSpPr txBox="1"/>
          <p:nvPr/>
        </p:nvSpPr>
        <p:spPr>
          <a:xfrm>
            <a:off x="1074622" y="541065"/>
            <a:ext cx="41520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>
                <a:solidFill>
                  <a:srgbClr val="787878"/>
                </a:solidFill>
                <a:latin typeface="Comic Sans MS" panose="030F0702030302020204" pitchFamily="66" charset="0"/>
              </a:rPr>
              <a:t>Accueillir : c’est tout un art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490C8594-8015-2F40-BBB5-92C54D28B410}"/>
              </a:ext>
            </a:extLst>
          </p:cNvPr>
          <p:cNvGrpSpPr/>
          <p:nvPr/>
        </p:nvGrpSpPr>
        <p:grpSpPr>
          <a:xfrm>
            <a:off x="1954534" y="1706383"/>
            <a:ext cx="894042" cy="2932981"/>
            <a:chOff x="4597879" y="1785667"/>
            <a:chExt cx="1325592" cy="3873261"/>
          </a:xfrm>
        </p:grpSpPr>
        <p:pic>
          <p:nvPicPr>
            <p:cNvPr id="13" name="Picture 2" descr="Baptêmes en l'Eglise Catholique de l'est de la Creuse">
              <a:extLst>
                <a:ext uri="{FF2B5EF4-FFF2-40B4-BE49-F238E27FC236}">
                  <a16:creationId xmlns:a16="http://schemas.microsoft.com/office/drawing/2014/main" id="{A2F9FDE1-A157-F621-A369-29429FC71F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875" t="13199" b="6416"/>
            <a:stretch/>
          </p:blipFill>
          <p:spPr bwMode="auto">
            <a:xfrm>
              <a:off x="4666890" y="1785667"/>
              <a:ext cx="1256581" cy="38732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Forme libre : forme 3">
              <a:extLst>
                <a:ext uri="{FF2B5EF4-FFF2-40B4-BE49-F238E27FC236}">
                  <a16:creationId xmlns:a16="http://schemas.microsoft.com/office/drawing/2014/main" id="{0F59752D-FC43-666D-1DE9-584BC43B9FA1}"/>
                </a:ext>
              </a:extLst>
            </p:cNvPr>
            <p:cNvSpPr/>
            <p:nvPr/>
          </p:nvSpPr>
          <p:spPr>
            <a:xfrm>
              <a:off x="4597879" y="2389517"/>
              <a:ext cx="232913" cy="569343"/>
            </a:xfrm>
            <a:custGeom>
              <a:avLst/>
              <a:gdLst>
                <a:gd name="connsiteX0" fmla="*/ 0 w 232913"/>
                <a:gd name="connsiteY0" fmla="*/ 0 h 569343"/>
                <a:gd name="connsiteX1" fmla="*/ 181155 w 232913"/>
                <a:gd name="connsiteY1" fmla="*/ 198408 h 569343"/>
                <a:gd name="connsiteX2" fmla="*/ 232913 w 232913"/>
                <a:gd name="connsiteY2" fmla="*/ 448574 h 569343"/>
                <a:gd name="connsiteX3" fmla="*/ 232913 w 232913"/>
                <a:gd name="connsiteY3" fmla="*/ 569343 h 569343"/>
                <a:gd name="connsiteX4" fmla="*/ 17253 w 232913"/>
                <a:gd name="connsiteY4" fmla="*/ 457200 h 569343"/>
                <a:gd name="connsiteX5" fmla="*/ 0 w 232913"/>
                <a:gd name="connsiteY5" fmla="*/ 0 h 56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913" h="569343">
                  <a:moveTo>
                    <a:pt x="0" y="0"/>
                  </a:moveTo>
                  <a:lnTo>
                    <a:pt x="181155" y="198408"/>
                  </a:lnTo>
                  <a:lnTo>
                    <a:pt x="232913" y="448574"/>
                  </a:lnTo>
                  <a:lnTo>
                    <a:pt x="232913" y="569343"/>
                  </a:lnTo>
                  <a:lnTo>
                    <a:pt x="17253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" name="Forme libre : forme 4">
              <a:extLst>
                <a:ext uri="{FF2B5EF4-FFF2-40B4-BE49-F238E27FC236}">
                  <a16:creationId xmlns:a16="http://schemas.microsoft.com/office/drawing/2014/main" id="{F2BBC4AD-9200-9F00-1577-0DB36A66271D}"/>
                </a:ext>
              </a:extLst>
            </p:cNvPr>
            <p:cNvSpPr/>
            <p:nvPr/>
          </p:nvSpPr>
          <p:spPr>
            <a:xfrm>
              <a:off x="4597879" y="4649637"/>
              <a:ext cx="232913" cy="353684"/>
            </a:xfrm>
            <a:custGeom>
              <a:avLst/>
              <a:gdLst>
                <a:gd name="connsiteX0" fmla="*/ 17253 w 146649"/>
                <a:gd name="connsiteY0" fmla="*/ 0 h 293298"/>
                <a:gd name="connsiteX1" fmla="*/ 146649 w 146649"/>
                <a:gd name="connsiteY1" fmla="*/ 181155 h 293298"/>
                <a:gd name="connsiteX2" fmla="*/ 69012 w 146649"/>
                <a:gd name="connsiteY2" fmla="*/ 293298 h 293298"/>
                <a:gd name="connsiteX3" fmla="*/ 0 w 146649"/>
                <a:gd name="connsiteY3" fmla="*/ 138023 h 293298"/>
                <a:gd name="connsiteX4" fmla="*/ 17253 w 146649"/>
                <a:gd name="connsiteY4" fmla="*/ 0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649" h="293298">
                  <a:moveTo>
                    <a:pt x="17253" y="0"/>
                  </a:moveTo>
                  <a:lnTo>
                    <a:pt x="146649" y="181155"/>
                  </a:lnTo>
                  <a:lnTo>
                    <a:pt x="69012" y="293298"/>
                  </a:lnTo>
                  <a:lnTo>
                    <a:pt x="0" y="138023"/>
                  </a:lnTo>
                  <a:lnTo>
                    <a:pt x="1725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6" name="Forme libre : forme 5">
              <a:extLst>
                <a:ext uri="{FF2B5EF4-FFF2-40B4-BE49-F238E27FC236}">
                  <a16:creationId xmlns:a16="http://schemas.microsoft.com/office/drawing/2014/main" id="{157DEC9B-6B5C-81D2-6BC6-C83E83896A78}"/>
                </a:ext>
              </a:extLst>
            </p:cNvPr>
            <p:cNvSpPr/>
            <p:nvPr/>
          </p:nvSpPr>
          <p:spPr>
            <a:xfrm>
              <a:off x="4597879" y="3933645"/>
              <a:ext cx="146649" cy="293298"/>
            </a:xfrm>
            <a:custGeom>
              <a:avLst/>
              <a:gdLst>
                <a:gd name="connsiteX0" fmla="*/ 17253 w 146649"/>
                <a:gd name="connsiteY0" fmla="*/ 0 h 293298"/>
                <a:gd name="connsiteX1" fmla="*/ 146649 w 146649"/>
                <a:gd name="connsiteY1" fmla="*/ 181155 h 293298"/>
                <a:gd name="connsiteX2" fmla="*/ 69012 w 146649"/>
                <a:gd name="connsiteY2" fmla="*/ 293298 h 293298"/>
                <a:gd name="connsiteX3" fmla="*/ 0 w 146649"/>
                <a:gd name="connsiteY3" fmla="*/ 138023 h 293298"/>
                <a:gd name="connsiteX4" fmla="*/ 17253 w 146649"/>
                <a:gd name="connsiteY4" fmla="*/ 0 h 293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649" h="293298">
                  <a:moveTo>
                    <a:pt x="17253" y="0"/>
                  </a:moveTo>
                  <a:lnTo>
                    <a:pt x="146649" y="181155"/>
                  </a:lnTo>
                  <a:lnTo>
                    <a:pt x="69012" y="293298"/>
                  </a:lnTo>
                  <a:lnTo>
                    <a:pt x="0" y="138023"/>
                  </a:lnTo>
                  <a:lnTo>
                    <a:pt x="1725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" name="Forme libre : forme 6">
              <a:extLst>
                <a:ext uri="{FF2B5EF4-FFF2-40B4-BE49-F238E27FC236}">
                  <a16:creationId xmlns:a16="http://schemas.microsoft.com/office/drawing/2014/main" id="{170F404E-645F-C13C-2AE0-87E9FB6795B2}"/>
                </a:ext>
              </a:extLst>
            </p:cNvPr>
            <p:cNvSpPr/>
            <p:nvPr/>
          </p:nvSpPr>
          <p:spPr>
            <a:xfrm>
              <a:off x="5538158" y="4804913"/>
              <a:ext cx="207034" cy="819510"/>
            </a:xfrm>
            <a:custGeom>
              <a:avLst/>
              <a:gdLst>
                <a:gd name="connsiteX0" fmla="*/ 0 w 207034"/>
                <a:gd name="connsiteY0" fmla="*/ 0 h 819510"/>
                <a:gd name="connsiteX1" fmla="*/ 207034 w 207034"/>
                <a:gd name="connsiteY1" fmla="*/ 17253 h 819510"/>
                <a:gd name="connsiteX2" fmla="*/ 172529 w 207034"/>
                <a:gd name="connsiteY2" fmla="*/ 819510 h 819510"/>
                <a:gd name="connsiteX3" fmla="*/ 0 w 207034"/>
                <a:gd name="connsiteY3" fmla="*/ 793630 h 819510"/>
                <a:gd name="connsiteX4" fmla="*/ 0 w 207034"/>
                <a:gd name="connsiteY4" fmla="*/ 0 h 819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034" h="819510">
                  <a:moveTo>
                    <a:pt x="0" y="0"/>
                  </a:moveTo>
                  <a:lnTo>
                    <a:pt x="207034" y="17253"/>
                  </a:lnTo>
                  <a:lnTo>
                    <a:pt x="172529" y="819510"/>
                  </a:lnTo>
                  <a:lnTo>
                    <a:pt x="0" y="7936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2184073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100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e think-cell" r:id="rId4" imgW="532" imgH="533" progId="TCLayout.ActiveDocument.1">
                  <p:embed/>
                </p:oleObj>
              </mc:Choice>
              <mc:Fallback>
                <p:oleObj name="Diapositive think-cell" r:id="rId4" imgW="532" imgH="5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llipse 1"/>
          <p:cNvSpPr/>
          <p:nvPr/>
        </p:nvSpPr>
        <p:spPr>
          <a:xfrm>
            <a:off x="9172706" y="2020855"/>
            <a:ext cx="2438081" cy="2057145"/>
          </a:xfrm>
          <a:prstGeom prst="ellipse">
            <a:avLst/>
          </a:prstGeom>
          <a:noFill/>
          <a:ln>
            <a:solidFill>
              <a:srgbClr val="01B5B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8734436" y="4867352"/>
            <a:ext cx="3202424" cy="1741276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e 6"/>
          <p:cNvGrpSpPr/>
          <p:nvPr/>
        </p:nvGrpSpPr>
        <p:grpSpPr>
          <a:xfrm>
            <a:off x="1" y="63238"/>
            <a:ext cx="12011890" cy="6636820"/>
            <a:chOff x="1" y="63238"/>
            <a:chExt cx="12011890" cy="6636820"/>
          </a:xfrm>
        </p:grpSpPr>
        <p:sp>
          <p:nvSpPr>
            <p:cNvPr id="8" name="Rectangle à coins arrondis 7"/>
            <p:cNvSpPr/>
            <p:nvPr/>
          </p:nvSpPr>
          <p:spPr>
            <a:xfrm>
              <a:off x="124691" y="133004"/>
              <a:ext cx="11887200" cy="6567054"/>
            </a:xfrm>
            <a:prstGeom prst="roundRect">
              <a:avLst>
                <a:gd name="adj" fmla="val 7173"/>
              </a:avLst>
            </a:prstGeom>
            <a:noFill/>
            <a:ln w="38100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" y="99752"/>
              <a:ext cx="997526" cy="10557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6"/>
            <a:srcRect r="39326" b="15289"/>
            <a:stretch/>
          </p:blipFill>
          <p:spPr>
            <a:xfrm>
              <a:off x="63472" y="63238"/>
              <a:ext cx="983933" cy="1161996"/>
            </a:xfrm>
            <a:prstGeom prst="rect">
              <a:avLst/>
            </a:prstGeom>
          </p:spPr>
        </p:pic>
      </p:grpSp>
      <p:sp>
        <p:nvSpPr>
          <p:cNvPr id="11" name="ZoneTexte 10"/>
          <p:cNvSpPr txBox="1"/>
          <p:nvPr/>
        </p:nvSpPr>
        <p:spPr>
          <a:xfrm>
            <a:off x="1074622" y="541065"/>
            <a:ext cx="563167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>
                <a:solidFill>
                  <a:srgbClr val="787878"/>
                </a:solidFill>
                <a:latin typeface="Comic Sans MS" panose="030F0702030302020204" pitchFamily="66" charset="0"/>
              </a:rPr>
              <a:t>Accueillir : inscrire le baptême </a:t>
            </a:r>
            <a:br>
              <a:rPr lang="fr-FR" sz="2400" dirty="0">
                <a:solidFill>
                  <a:srgbClr val="787878"/>
                </a:solidFill>
                <a:latin typeface="Comic Sans MS" panose="030F0702030302020204" pitchFamily="66" charset="0"/>
              </a:rPr>
            </a:br>
            <a:r>
              <a:rPr lang="fr-FR" sz="2400" dirty="0">
                <a:solidFill>
                  <a:srgbClr val="787878"/>
                </a:solidFill>
                <a:latin typeface="Comic Sans MS" panose="030F0702030302020204" pitchFamily="66" charset="0"/>
              </a:rPr>
              <a:t>                     dans la vie de la paroisse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93481" y="3145631"/>
            <a:ext cx="3351934" cy="2079815"/>
          </a:xfrm>
          <a:prstGeom prst="rect">
            <a:avLst/>
          </a:prstGeom>
        </p:spPr>
      </p:pic>
      <p:pic>
        <p:nvPicPr>
          <p:cNvPr id="20" name="Picture 8" descr="Éveil à la foi — Paroisse Saint-Bernard du Mont-Blanc">
            <a:extLst>
              <a:ext uri="{FF2B5EF4-FFF2-40B4-BE49-F238E27FC236}">
                <a16:creationId xmlns:a16="http://schemas.microsoft.com/office/drawing/2014/main" id="{BA4D9C94-E940-6E4B-30C5-17E28FA00E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0228" y="5141455"/>
            <a:ext cx="2261389" cy="1059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14491" y="2371595"/>
            <a:ext cx="1531851" cy="1460364"/>
          </a:xfrm>
          <a:prstGeom prst="rect">
            <a:avLst/>
          </a:prstGeom>
        </p:spPr>
      </p:pic>
      <p:pic>
        <p:nvPicPr>
          <p:cNvPr id="4101" name="Picture 5" descr="b003abc5-7f03-439c-b4b4-60f0f114a25a@comete"/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-285532" y="2238121"/>
            <a:ext cx="4153709" cy="3115281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4" name="Groupe 33"/>
          <p:cNvGrpSpPr/>
          <p:nvPr/>
        </p:nvGrpSpPr>
        <p:grpSpPr>
          <a:xfrm rot="14575762">
            <a:off x="8586630" y="3247818"/>
            <a:ext cx="504000" cy="643045"/>
            <a:chOff x="4603864" y="637077"/>
            <a:chExt cx="504000" cy="691761"/>
          </a:xfrm>
          <a:noFill/>
        </p:grpSpPr>
        <p:sp>
          <p:nvSpPr>
            <p:cNvPr id="35" name="Trapèze 34"/>
            <p:cNvSpPr/>
            <p:nvPr/>
          </p:nvSpPr>
          <p:spPr>
            <a:xfrm>
              <a:off x="4684221" y="918638"/>
              <a:ext cx="336666" cy="101741"/>
            </a:xfrm>
            <a:prstGeom prst="trapezoid">
              <a:avLst/>
            </a:prstGeom>
            <a:grpFill/>
            <a:ln>
              <a:solidFill>
                <a:srgbClr val="01B5B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6" name="Trapèze 35"/>
            <p:cNvSpPr/>
            <p:nvPr/>
          </p:nvSpPr>
          <p:spPr>
            <a:xfrm>
              <a:off x="4634346" y="1074697"/>
              <a:ext cx="432000" cy="101741"/>
            </a:xfrm>
            <a:prstGeom prst="trapezoid">
              <a:avLst/>
            </a:prstGeom>
            <a:grpFill/>
            <a:ln>
              <a:solidFill>
                <a:srgbClr val="01B5B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7" name="Trapèze 36"/>
            <p:cNvSpPr/>
            <p:nvPr/>
          </p:nvSpPr>
          <p:spPr>
            <a:xfrm>
              <a:off x="4603864" y="1227097"/>
              <a:ext cx="504000" cy="101741"/>
            </a:xfrm>
            <a:prstGeom prst="trapezoid">
              <a:avLst/>
            </a:prstGeom>
            <a:grpFill/>
            <a:ln>
              <a:solidFill>
                <a:srgbClr val="01B5B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8" name="Trapèze 37"/>
            <p:cNvSpPr/>
            <p:nvPr/>
          </p:nvSpPr>
          <p:spPr>
            <a:xfrm>
              <a:off x="4716950" y="782014"/>
              <a:ext cx="252000" cy="101741"/>
            </a:xfrm>
            <a:prstGeom prst="trapezoid">
              <a:avLst/>
            </a:prstGeom>
            <a:grpFill/>
            <a:ln>
              <a:solidFill>
                <a:srgbClr val="01B5B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9" name="Trapèze 38"/>
            <p:cNvSpPr/>
            <p:nvPr/>
          </p:nvSpPr>
          <p:spPr>
            <a:xfrm>
              <a:off x="4752261" y="637077"/>
              <a:ext cx="180000" cy="101741"/>
            </a:xfrm>
            <a:prstGeom prst="trapezoid">
              <a:avLst/>
            </a:prstGeom>
            <a:grpFill/>
            <a:ln>
              <a:solidFill>
                <a:srgbClr val="01B5B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6" name="Groupe 45"/>
          <p:cNvGrpSpPr/>
          <p:nvPr/>
        </p:nvGrpSpPr>
        <p:grpSpPr>
          <a:xfrm rot="18407383">
            <a:off x="8283679" y="4918328"/>
            <a:ext cx="504000" cy="643045"/>
            <a:chOff x="4603864" y="637077"/>
            <a:chExt cx="504000" cy="691761"/>
          </a:xfrm>
          <a:noFill/>
        </p:grpSpPr>
        <p:sp>
          <p:nvSpPr>
            <p:cNvPr id="47" name="Trapèze 46"/>
            <p:cNvSpPr/>
            <p:nvPr/>
          </p:nvSpPr>
          <p:spPr>
            <a:xfrm>
              <a:off x="4684221" y="918638"/>
              <a:ext cx="336666" cy="101741"/>
            </a:xfrm>
            <a:prstGeom prst="trapezoid">
              <a:avLst/>
            </a:prstGeom>
            <a:grp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8" name="Trapèze 47"/>
            <p:cNvSpPr/>
            <p:nvPr/>
          </p:nvSpPr>
          <p:spPr>
            <a:xfrm>
              <a:off x="4634346" y="1074697"/>
              <a:ext cx="432000" cy="101741"/>
            </a:xfrm>
            <a:prstGeom prst="trapezoid">
              <a:avLst/>
            </a:prstGeom>
            <a:grp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9" name="Trapèze 48"/>
            <p:cNvSpPr/>
            <p:nvPr/>
          </p:nvSpPr>
          <p:spPr>
            <a:xfrm>
              <a:off x="4603864" y="1227097"/>
              <a:ext cx="504000" cy="101741"/>
            </a:xfrm>
            <a:prstGeom prst="trapezoid">
              <a:avLst/>
            </a:prstGeom>
            <a:grp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0" name="Trapèze 49"/>
            <p:cNvSpPr/>
            <p:nvPr/>
          </p:nvSpPr>
          <p:spPr>
            <a:xfrm>
              <a:off x="4716950" y="782014"/>
              <a:ext cx="252000" cy="101741"/>
            </a:xfrm>
            <a:prstGeom prst="trapezoid">
              <a:avLst/>
            </a:prstGeom>
            <a:grp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1" name="Trapèze 50"/>
            <p:cNvSpPr/>
            <p:nvPr/>
          </p:nvSpPr>
          <p:spPr>
            <a:xfrm>
              <a:off x="4752261" y="637077"/>
              <a:ext cx="180000" cy="101741"/>
            </a:xfrm>
            <a:prstGeom prst="trapezoid">
              <a:avLst/>
            </a:prstGeom>
            <a:grp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52" name="Groupe 51"/>
          <p:cNvGrpSpPr/>
          <p:nvPr/>
        </p:nvGrpSpPr>
        <p:grpSpPr>
          <a:xfrm rot="5666362">
            <a:off x="3515040" y="3839657"/>
            <a:ext cx="504000" cy="691761"/>
            <a:chOff x="4603864" y="637077"/>
            <a:chExt cx="504000" cy="691761"/>
          </a:xfrm>
          <a:noFill/>
        </p:grpSpPr>
        <p:sp>
          <p:nvSpPr>
            <p:cNvPr id="53" name="Trapèze 52"/>
            <p:cNvSpPr/>
            <p:nvPr/>
          </p:nvSpPr>
          <p:spPr>
            <a:xfrm>
              <a:off x="4684221" y="918638"/>
              <a:ext cx="336666" cy="101741"/>
            </a:xfrm>
            <a:prstGeom prst="trapezoid">
              <a:avLst/>
            </a:prstGeom>
            <a:grpFill/>
            <a:ln>
              <a:solidFill>
                <a:srgbClr val="7948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4" name="Trapèze 53"/>
            <p:cNvSpPr/>
            <p:nvPr/>
          </p:nvSpPr>
          <p:spPr>
            <a:xfrm>
              <a:off x="4634346" y="1074697"/>
              <a:ext cx="432000" cy="101741"/>
            </a:xfrm>
            <a:prstGeom prst="trapezoid">
              <a:avLst/>
            </a:prstGeom>
            <a:grpFill/>
            <a:ln>
              <a:solidFill>
                <a:srgbClr val="7948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5" name="Trapèze 54"/>
            <p:cNvSpPr/>
            <p:nvPr/>
          </p:nvSpPr>
          <p:spPr>
            <a:xfrm>
              <a:off x="4603864" y="1227097"/>
              <a:ext cx="504000" cy="101741"/>
            </a:xfrm>
            <a:prstGeom prst="trapezoid">
              <a:avLst/>
            </a:prstGeom>
            <a:grpFill/>
            <a:ln>
              <a:solidFill>
                <a:srgbClr val="7948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6" name="Trapèze 55"/>
            <p:cNvSpPr/>
            <p:nvPr/>
          </p:nvSpPr>
          <p:spPr>
            <a:xfrm>
              <a:off x="4716950" y="782014"/>
              <a:ext cx="252000" cy="101741"/>
            </a:xfrm>
            <a:prstGeom prst="trapezoid">
              <a:avLst/>
            </a:prstGeom>
            <a:grpFill/>
            <a:ln>
              <a:solidFill>
                <a:srgbClr val="7948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7" name="Trapèze 56"/>
            <p:cNvSpPr/>
            <p:nvPr/>
          </p:nvSpPr>
          <p:spPr>
            <a:xfrm>
              <a:off x="4752261" y="637077"/>
              <a:ext cx="180000" cy="101741"/>
            </a:xfrm>
            <a:prstGeom prst="trapezoid">
              <a:avLst/>
            </a:prstGeom>
            <a:grpFill/>
            <a:ln>
              <a:solidFill>
                <a:srgbClr val="79480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62" name="Groupe 61"/>
          <p:cNvGrpSpPr/>
          <p:nvPr/>
        </p:nvGrpSpPr>
        <p:grpSpPr>
          <a:xfrm>
            <a:off x="7408040" y="461190"/>
            <a:ext cx="2110642" cy="1743075"/>
            <a:chOff x="5868057" y="203159"/>
            <a:chExt cx="2110642" cy="1743075"/>
          </a:xfrm>
        </p:grpSpPr>
        <p:grpSp>
          <p:nvGrpSpPr>
            <p:cNvPr id="60" name="Groupe 59"/>
            <p:cNvGrpSpPr/>
            <p:nvPr/>
          </p:nvGrpSpPr>
          <p:grpSpPr>
            <a:xfrm>
              <a:off x="5868057" y="203159"/>
              <a:ext cx="2110642" cy="1743075"/>
              <a:chOff x="5868057" y="203159"/>
              <a:chExt cx="2110642" cy="1743075"/>
            </a:xfrm>
          </p:grpSpPr>
          <p:pic>
            <p:nvPicPr>
              <p:cNvPr id="58" name="Image 57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868057" y="203159"/>
                <a:ext cx="2110642" cy="1743075"/>
              </a:xfrm>
              <a:prstGeom prst="rect">
                <a:avLst/>
              </a:prstGeom>
            </p:spPr>
          </p:pic>
          <p:sp>
            <p:nvSpPr>
              <p:cNvPr id="59" name="Rectangle 58"/>
              <p:cNvSpPr/>
              <p:nvPr/>
            </p:nvSpPr>
            <p:spPr>
              <a:xfrm rot="20637186">
                <a:off x="7106562" y="1227697"/>
                <a:ext cx="472493" cy="1246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  <p:sp>
          <p:nvSpPr>
            <p:cNvPr id="61" name="ZoneTexte 60"/>
            <p:cNvSpPr txBox="1"/>
            <p:nvPr/>
          </p:nvSpPr>
          <p:spPr>
            <a:xfrm rot="20656374">
              <a:off x="7073691" y="1155621"/>
              <a:ext cx="52290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000" dirty="0">
                  <a:latin typeface="Comic Sans MS" panose="030F0702030302020204" pitchFamily="66" charset="0"/>
                </a:rPr>
                <a:t>Appel</a:t>
              </a:r>
            </a:p>
          </p:txBody>
        </p:sp>
      </p:grpSp>
      <p:sp>
        <p:nvSpPr>
          <p:cNvPr id="64" name="Ellipse 63"/>
          <p:cNvSpPr/>
          <p:nvPr/>
        </p:nvSpPr>
        <p:spPr>
          <a:xfrm>
            <a:off x="7034184" y="455616"/>
            <a:ext cx="2701637" cy="1856809"/>
          </a:xfrm>
          <a:prstGeom prst="ellipse">
            <a:avLst/>
          </a:prstGeom>
          <a:noFill/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9" name="Groupe 18"/>
          <p:cNvGrpSpPr/>
          <p:nvPr/>
        </p:nvGrpSpPr>
        <p:grpSpPr>
          <a:xfrm rot="11894609">
            <a:off x="7408945" y="2243199"/>
            <a:ext cx="504000" cy="691761"/>
            <a:chOff x="4603864" y="637077"/>
            <a:chExt cx="504000" cy="691761"/>
          </a:xfrm>
          <a:noFill/>
        </p:grpSpPr>
        <p:sp>
          <p:nvSpPr>
            <p:cNvPr id="14" name="Trapèze 13"/>
            <p:cNvSpPr/>
            <p:nvPr/>
          </p:nvSpPr>
          <p:spPr>
            <a:xfrm>
              <a:off x="4684221" y="918638"/>
              <a:ext cx="336666" cy="101741"/>
            </a:xfrm>
            <a:prstGeom prst="trapezoid">
              <a:avLst/>
            </a:prstGeom>
            <a:grpFill/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4" name="Trapèze 23"/>
            <p:cNvSpPr/>
            <p:nvPr/>
          </p:nvSpPr>
          <p:spPr>
            <a:xfrm>
              <a:off x="4634346" y="1074697"/>
              <a:ext cx="432000" cy="101741"/>
            </a:xfrm>
            <a:prstGeom prst="trapezoid">
              <a:avLst/>
            </a:prstGeom>
            <a:grpFill/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" name="Trapèze 24"/>
            <p:cNvSpPr/>
            <p:nvPr/>
          </p:nvSpPr>
          <p:spPr>
            <a:xfrm>
              <a:off x="4603864" y="1227097"/>
              <a:ext cx="504000" cy="101741"/>
            </a:xfrm>
            <a:prstGeom prst="trapezoid">
              <a:avLst/>
            </a:prstGeom>
            <a:grpFill/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" name="Trapèze 25"/>
            <p:cNvSpPr/>
            <p:nvPr/>
          </p:nvSpPr>
          <p:spPr>
            <a:xfrm>
              <a:off x="4716950" y="782014"/>
              <a:ext cx="252000" cy="101741"/>
            </a:xfrm>
            <a:prstGeom prst="trapezoid">
              <a:avLst/>
            </a:prstGeom>
            <a:grpFill/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7" name="Trapèze 26"/>
            <p:cNvSpPr/>
            <p:nvPr/>
          </p:nvSpPr>
          <p:spPr>
            <a:xfrm>
              <a:off x="4752261" y="637077"/>
              <a:ext cx="180000" cy="101741"/>
            </a:xfrm>
            <a:prstGeom prst="trapezoid">
              <a:avLst/>
            </a:prstGeom>
            <a:grpFill/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8" name="Ellipse 17"/>
          <p:cNvSpPr/>
          <p:nvPr/>
        </p:nvSpPr>
        <p:spPr>
          <a:xfrm>
            <a:off x="4167946" y="2769674"/>
            <a:ext cx="4419102" cy="2900900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0486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1" y="63238"/>
            <a:ext cx="12011890" cy="6636820"/>
            <a:chOff x="1" y="63238"/>
            <a:chExt cx="12011890" cy="6636820"/>
          </a:xfrm>
        </p:grpSpPr>
        <p:sp>
          <p:nvSpPr>
            <p:cNvPr id="8" name="Rectangle à coins arrondis 7"/>
            <p:cNvSpPr/>
            <p:nvPr/>
          </p:nvSpPr>
          <p:spPr>
            <a:xfrm>
              <a:off x="124691" y="133004"/>
              <a:ext cx="11887200" cy="6567054"/>
            </a:xfrm>
            <a:prstGeom prst="roundRect">
              <a:avLst>
                <a:gd name="adj" fmla="val 7173"/>
              </a:avLst>
            </a:prstGeom>
            <a:noFill/>
            <a:ln w="38100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" y="99752"/>
              <a:ext cx="997526" cy="10557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2"/>
            <a:srcRect r="39326" b="15289"/>
            <a:stretch/>
          </p:blipFill>
          <p:spPr>
            <a:xfrm>
              <a:off x="63472" y="63238"/>
              <a:ext cx="983933" cy="1161996"/>
            </a:xfrm>
            <a:prstGeom prst="rect">
              <a:avLst/>
            </a:prstGeom>
          </p:spPr>
        </p:pic>
      </p:grpSp>
      <p:sp>
        <p:nvSpPr>
          <p:cNvPr id="11" name="ZoneTexte 10"/>
          <p:cNvSpPr txBox="1"/>
          <p:nvPr/>
        </p:nvSpPr>
        <p:spPr>
          <a:xfrm>
            <a:off x="1074622" y="541065"/>
            <a:ext cx="28264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>
                <a:solidFill>
                  <a:srgbClr val="787878"/>
                </a:solidFill>
                <a:latin typeface="Comic Sans MS" panose="030F0702030302020204" pitchFamily="66" charset="0"/>
              </a:rPr>
              <a:t>Et concrètement…</a:t>
            </a:r>
          </a:p>
        </p:txBody>
      </p:sp>
      <p:grpSp>
        <p:nvGrpSpPr>
          <p:cNvPr id="15" name="Groupe 14"/>
          <p:cNvGrpSpPr/>
          <p:nvPr/>
        </p:nvGrpSpPr>
        <p:grpSpPr>
          <a:xfrm>
            <a:off x="2780347" y="1070495"/>
            <a:ext cx="6219524" cy="4779318"/>
            <a:chOff x="2780347" y="1070495"/>
            <a:chExt cx="6219524" cy="4779318"/>
          </a:xfrm>
        </p:grpSpPr>
        <p:pic>
          <p:nvPicPr>
            <p:cNvPr id="16" name="Image 15"/>
            <p:cNvPicPr>
              <a:picLocks noChangeAspect="1"/>
            </p:cNvPicPr>
            <p:nvPr/>
          </p:nvPicPr>
          <p:blipFill rotWithShape="1">
            <a:blip r:embed="rId3"/>
            <a:srcRect l="38549" t="20490" r="36516" b="45291"/>
            <a:stretch/>
          </p:blipFill>
          <p:spPr>
            <a:xfrm>
              <a:off x="4763698" y="2068787"/>
              <a:ext cx="2674677" cy="3504430"/>
            </a:xfrm>
            <a:prstGeom prst="rect">
              <a:avLst/>
            </a:prstGeom>
          </p:spPr>
        </p:pic>
        <p:sp>
          <p:nvSpPr>
            <p:cNvPr id="17" name="ZoneTexte 16"/>
            <p:cNvSpPr txBox="1"/>
            <p:nvPr/>
          </p:nvSpPr>
          <p:spPr>
            <a:xfrm rot="720000">
              <a:off x="6227549" y="1781711"/>
              <a:ext cx="2518638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800" dirty="0">
                  <a:solidFill>
                    <a:srgbClr val="5FAFCF"/>
                  </a:solidFill>
                  <a:latin typeface="Brush Script MT" panose="03060802040406070304" pitchFamily="66" charset="0"/>
                </a:rPr>
                <a:t>communauté</a:t>
              </a:r>
            </a:p>
          </p:txBody>
        </p:sp>
        <p:sp>
          <p:nvSpPr>
            <p:cNvPr id="18" name="ZoneTexte 17"/>
            <p:cNvSpPr txBox="1"/>
            <p:nvPr/>
          </p:nvSpPr>
          <p:spPr>
            <a:xfrm rot="720000">
              <a:off x="6289435" y="1458592"/>
              <a:ext cx="127637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000" dirty="0">
                  <a:solidFill>
                    <a:srgbClr val="FFAE5C"/>
                  </a:solidFill>
                  <a:latin typeface="Brush Script MT" panose="03060802040406070304" pitchFamily="66" charset="0"/>
                </a:rPr>
                <a:t>Parole</a:t>
              </a:r>
            </a:p>
          </p:txBody>
        </p:sp>
        <p:sp>
          <p:nvSpPr>
            <p:cNvPr id="19" name="ZoneTexte 18"/>
            <p:cNvSpPr txBox="1"/>
            <p:nvPr/>
          </p:nvSpPr>
          <p:spPr>
            <a:xfrm rot="720000">
              <a:off x="5683018" y="1070495"/>
              <a:ext cx="113685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FFAE5C"/>
                  </a:solidFill>
                  <a:latin typeface="Brush Script MT" panose="03060802040406070304" pitchFamily="66" charset="0"/>
                </a:rPr>
                <a:t>ensemble</a:t>
              </a:r>
            </a:p>
          </p:txBody>
        </p:sp>
        <p:sp>
          <p:nvSpPr>
            <p:cNvPr id="21" name="ZoneTexte 20"/>
            <p:cNvSpPr txBox="1"/>
            <p:nvPr/>
          </p:nvSpPr>
          <p:spPr>
            <a:xfrm rot="20870810">
              <a:off x="7425045" y="1719594"/>
              <a:ext cx="118013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000" dirty="0">
                  <a:solidFill>
                    <a:srgbClr val="C78E99"/>
                  </a:solidFill>
                  <a:latin typeface="Brush Script MT" panose="03060802040406070304" pitchFamily="66" charset="0"/>
                </a:rPr>
                <a:t>bienveillance</a:t>
              </a:r>
            </a:p>
          </p:txBody>
        </p:sp>
        <p:sp>
          <p:nvSpPr>
            <p:cNvPr id="24" name="ZoneTexte 23"/>
            <p:cNvSpPr txBox="1"/>
            <p:nvPr/>
          </p:nvSpPr>
          <p:spPr>
            <a:xfrm rot="20870810">
              <a:off x="7284667" y="2517240"/>
              <a:ext cx="92211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C78E99"/>
                  </a:solidFill>
                  <a:latin typeface="Brush Script MT" panose="03060802040406070304" pitchFamily="66" charset="0"/>
                </a:rPr>
                <a:t>groupe</a:t>
              </a:r>
            </a:p>
          </p:txBody>
        </p:sp>
        <p:sp>
          <p:nvSpPr>
            <p:cNvPr id="25" name="ZoneTexte 24"/>
            <p:cNvSpPr txBox="1"/>
            <p:nvPr/>
          </p:nvSpPr>
          <p:spPr>
            <a:xfrm rot="720000">
              <a:off x="7297018" y="3056938"/>
              <a:ext cx="1641796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000" dirty="0">
                  <a:solidFill>
                    <a:srgbClr val="FFAE5C"/>
                  </a:solidFill>
                  <a:latin typeface="Brush Script MT" panose="03060802040406070304" pitchFamily="66" charset="0"/>
                </a:rPr>
                <a:t>Evangile</a:t>
              </a:r>
            </a:p>
          </p:txBody>
        </p:sp>
        <p:sp>
          <p:nvSpPr>
            <p:cNvPr id="26" name="ZoneTexte 25"/>
            <p:cNvSpPr txBox="1"/>
            <p:nvPr/>
          </p:nvSpPr>
          <p:spPr>
            <a:xfrm rot="21056575">
              <a:off x="4565853" y="2016214"/>
              <a:ext cx="87075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800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joie</a:t>
              </a:r>
            </a:p>
          </p:txBody>
        </p:sp>
        <p:sp>
          <p:nvSpPr>
            <p:cNvPr id="27" name="ZoneTexte 26"/>
            <p:cNvSpPr txBox="1"/>
            <p:nvPr/>
          </p:nvSpPr>
          <p:spPr>
            <a:xfrm rot="21056575">
              <a:off x="5353002" y="1272121"/>
              <a:ext cx="809837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6000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foi</a:t>
              </a:r>
            </a:p>
          </p:txBody>
        </p:sp>
        <p:sp>
          <p:nvSpPr>
            <p:cNvPr id="28" name="ZoneTexte 27"/>
            <p:cNvSpPr txBox="1"/>
            <p:nvPr/>
          </p:nvSpPr>
          <p:spPr>
            <a:xfrm rot="21056575">
              <a:off x="3944386" y="1947056"/>
              <a:ext cx="978153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jeunes</a:t>
              </a:r>
            </a:p>
          </p:txBody>
        </p:sp>
        <p:sp>
          <p:nvSpPr>
            <p:cNvPr id="29" name="ZoneTexte 28"/>
            <p:cNvSpPr txBox="1"/>
            <p:nvPr/>
          </p:nvSpPr>
          <p:spPr>
            <a:xfrm rot="720000">
              <a:off x="4588513" y="1151874"/>
              <a:ext cx="89300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000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François</a:t>
              </a:r>
            </a:p>
          </p:txBody>
        </p:sp>
        <p:sp>
          <p:nvSpPr>
            <p:cNvPr id="30" name="ZoneTexte 29"/>
            <p:cNvSpPr txBox="1"/>
            <p:nvPr/>
          </p:nvSpPr>
          <p:spPr>
            <a:xfrm rot="720000">
              <a:off x="4060935" y="1337715"/>
              <a:ext cx="140775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5FAFCF"/>
                  </a:solidFill>
                  <a:latin typeface="Brush Script MT" panose="03060802040406070304" pitchFamily="66" charset="0"/>
                </a:rPr>
                <a:t>évangéliser</a:t>
              </a:r>
            </a:p>
          </p:txBody>
        </p:sp>
        <p:sp>
          <p:nvSpPr>
            <p:cNvPr id="31" name="ZoneTexte 30"/>
            <p:cNvSpPr txBox="1"/>
            <p:nvPr/>
          </p:nvSpPr>
          <p:spPr>
            <a:xfrm rot="720000">
              <a:off x="3725354" y="1635657"/>
              <a:ext cx="118974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FFAE5C"/>
                  </a:solidFill>
                  <a:latin typeface="Brush Script MT" panose="03060802040406070304" pitchFamily="66" charset="0"/>
                </a:rPr>
                <a:t>connaître</a:t>
              </a:r>
            </a:p>
          </p:txBody>
        </p:sp>
        <p:sp>
          <p:nvSpPr>
            <p:cNvPr id="32" name="ZoneTexte 31"/>
            <p:cNvSpPr txBox="1"/>
            <p:nvPr/>
          </p:nvSpPr>
          <p:spPr>
            <a:xfrm rot="741463">
              <a:off x="3453055" y="2918662"/>
              <a:ext cx="1252266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600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mission</a:t>
              </a:r>
            </a:p>
          </p:txBody>
        </p:sp>
        <p:sp>
          <p:nvSpPr>
            <p:cNvPr id="33" name="ZoneTexte 32"/>
            <p:cNvSpPr txBox="1"/>
            <p:nvPr/>
          </p:nvSpPr>
          <p:spPr>
            <a:xfrm rot="720000">
              <a:off x="3054425" y="4584584"/>
              <a:ext cx="2073003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400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profondeur</a:t>
              </a:r>
            </a:p>
          </p:txBody>
        </p:sp>
        <p:sp>
          <p:nvSpPr>
            <p:cNvPr id="34" name="ZoneTexte 33"/>
            <p:cNvSpPr txBox="1"/>
            <p:nvPr/>
          </p:nvSpPr>
          <p:spPr>
            <a:xfrm rot="21056575">
              <a:off x="3995958" y="3965501"/>
              <a:ext cx="1021433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service</a:t>
              </a:r>
            </a:p>
          </p:txBody>
        </p:sp>
        <p:sp>
          <p:nvSpPr>
            <p:cNvPr id="35" name="ZoneTexte 34"/>
            <p:cNvSpPr txBox="1"/>
            <p:nvPr/>
          </p:nvSpPr>
          <p:spPr>
            <a:xfrm rot="21056575">
              <a:off x="4720422" y="3968534"/>
              <a:ext cx="70403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800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vie</a:t>
              </a:r>
            </a:p>
          </p:txBody>
        </p:sp>
        <p:sp>
          <p:nvSpPr>
            <p:cNvPr id="36" name="ZoneTexte 35"/>
            <p:cNvSpPr txBox="1"/>
            <p:nvPr/>
          </p:nvSpPr>
          <p:spPr>
            <a:xfrm rot="21056575">
              <a:off x="7280918" y="3518339"/>
              <a:ext cx="102784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000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catéchisme</a:t>
              </a:r>
            </a:p>
          </p:txBody>
        </p:sp>
        <p:sp>
          <p:nvSpPr>
            <p:cNvPr id="37" name="ZoneTexte 36"/>
            <p:cNvSpPr txBox="1"/>
            <p:nvPr/>
          </p:nvSpPr>
          <p:spPr>
            <a:xfrm rot="20870810">
              <a:off x="7072332" y="3771480"/>
              <a:ext cx="82907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C78E99"/>
                  </a:solidFill>
                  <a:latin typeface="Brush Script MT" panose="03060802040406070304" pitchFamily="66" charset="0"/>
                </a:rPr>
                <a:t>prière</a:t>
              </a:r>
            </a:p>
          </p:txBody>
        </p:sp>
        <p:sp>
          <p:nvSpPr>
            <p:cNvPr id="38" name="ZoneTexte 37"/>
            <p:cNvSpPr txBox="1"/>
            <p:nvPr/>
          </p:nvSpPr>
          <p:spPr>
            <a:xfrm rot="20870810">
              <a:off x="6417720" y="5015906"/>
              <a:ext cx="87075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C78E99"/>
                  </a:solidFill>
                  <a:latin typeface="Brush Script MT" panose="03060802040406070304" pitchFamily="66" charset="0"/>
                </a:rPr>
                <a:t>parler</a:t>
              </a:r>
            </a:p>
          </p:txBody>
        </p:sp>
        <p:sp>
          <p:nvSpPr>
            <p:cNvPr id="39" name="ZoneTexte 38"/>
            <p:cNvSpPr txBox="1"/>
            <p:nvPr/>
          </p:nvSpPr>
          <p:spPr>
            <a:xfrm rot="20870810">
              <a:off x="3226194" y="2324384"/>
              <a:ext cx="83227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000" dirty="0">
                  <a:solidFill>
                    <a:srgbClr val="C78E99"/>
                  </a:solidFill>
                  <a:latin typeface="Brush Script MT" panose="03060802040406070304" pitchFamily="66" charset="0"/>
                </a:rPr>
                <a:t>baptême</a:t>
              </a:r>
            </a:p>
          </p:txBody>
        </p:sp>
        <p:sp>
          <p:nvSpPr>
            <p:cNvPr id="40" name="ZoneTexte 39"/>
            <p:cNvSpPr txBox="1"/>
            <p:nvPr/>
          </p:nvSpPr>
          <p:spPr>
            <a:xfrm rot="20877839">
              <a:off x="6188124" y="4410432"/>
              <a:ext cx="907621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>
                  <a:solidFill>
                    <a:srgbClr val="FFAE5C"/>
                  </a:solidFill>
                  <a:latin typeface="Brush Script MT" panose="03060802040406070304" pitchFamily="66" charset="0"/>
                </a:rPr>
                <a:t>messe</a:t>
              </a:r>
            </a:p>
          </p:txBody>
        </p:sp>
        <p:sp>
          <p:nvSpPr>
            <p:cNvPr id="41" name="ZoneTexte 40"/>
            <p:cNvSpPr txBox="1"/>
            <p:nvPr/>
          </p:nvSpPr>
          <p:spPr>
            <a:xfrm rot="20877839">
              <a:off x="6947890" y="4329680"/>
              <a:ext cx="1236236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4800" dirty="0">
                  <a:solidFill>
                    <a:srgbClr val="FFAE5C"/>
                  </a:solidFill>
                  <a:latin typeface="Brush Script MT" panose="03060802040406070304" pitchFamily="66" charset="0"/>
                </a:rPr>
                <a:t>croire</a:t>
              </a:r>
            </a:p>
          </p:txBody>
        </p:sp>
        <p:sp>
          <p:nvSpPr>
            <p:cNvPr id="42" name="ZoneTexte 41"/>
            <p:cNvSpPr txBox="1"/>
            <p:nvPr/>
          </p:nvSpPr>
          <p:spPr>
            <a:xfrm rot="20877839">
              <a:off x="6928470" y="3751418"/>
              <a:ext cx="207140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5400" dirty="0">
                  <a:solidFill>
                    <a:srgbClr val="C8A784"/>
                  </a:solidFill>
                  <a:latin typeface="Brush Script MT" panose="03060802040406070304" pitchFamily="66" charset="0"/>
                </a:rPr>
                <a:t>partager</a:t>
              </a:r>
            </a:p>
          </p:txBody>
        </p:sp>
        <p:sp>
          <p:nvSpPr>
            <p:cNvPr id="43" name="ZoneTexte 42"/>
            <p:cNvSpPr txBox="1"/>
            <p:nvPr/>
          </p:nvSpPr>
          <p:spPr>
            <a:xfrm rot="720000">
              <a:off x="2780347" y="3130510"/>
              <a:ext cx="2616422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6600" dirty="0">
                  <a:solidFill>
                    <a:srgbClr val="C8A784"/>
                  </a:solidFill>
                  <a:latin typeface="Brush Script MT" panose="03060802040406070304" pitchFamily="66" charset="0"/>
                </a:rPr>
                <a:t>accueillir</a:t>
              </a:r>
            </a:p>
          </p:txBody>
        </p:sp>
        <p:sp>
          <p:nvSpPr>
            <p:cNvPr id="44" name="ZoneTexte 43"/>
            <p:cNvSpPr txBox="1"/>
            <p:nvPr/>
          </p:nvSpPr>
          <p:spPr>
            <a:xfrm rot="20877839">
              <a:off x="3553796" y="1902073"/>
              <a:ext cx="87395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000" dirty="0">
                  <a:solidFill>
                    <a:srgbClr val="C8A784"/>
                  </a:solidFill>
                  <a:latin typeface="Brush Script MT" panose="03060802040406070304" pitchFamily="66" charset="0"/>
                </a:rPr>
                <a:t>annoncer</a:t>
              </a:r>
            </a:p>
          </p:txBody>
        </p:sp>
        <p:sp>
          <p:nvSpPr>
            <p:cNvPr id="45" name="ZoneTexte 44"/>
            <p:cNvSpPr txBox="1"/>
            <p:nvPr/>
          </p:nvSpPr>
          <p:spPr>
            <a:xfrm rot="20877839">
              <a:off x="7720814" y="2835087"/>
              <a:ext cx="87075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400" dirty="0">
                  <a:solidFill>
                    <a:srgbClr val="C8A784"/>
                  </a:solidFill>
                  <a:latin typeface="Brush Script MT" panose="03060802040406070304" pitchFamily="66" charset="0"/>
                </a:rPr>
                <a:t>décider</a:t>
              </a:r>
            </a:p>
          </p:txBody>
        </p:sp>
        <p:sp>
          <p:nvSpPr>
            <p:cNvPr id="46" name="ZoneTexte 45"/>
            <p:cNvSpPr txBox="1"/>
            <p:nvPr/>
          </p:nvSpPr>
          <p:spPr>
            <a:xfrm rot="20789742">
              <a:off x="7101826" y="2384476"/>
              <a:ext cx="7152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000" dirty="0">
                  <a:solidFill>
                    <a:srgbClr val="5FAFCF"/>
                  </a:solidFill>
                  <a:latin typeface="Brush Script MT" panose="03060802040406070304" pitchFamily="66" charset="0"/>
                </a:rPr>
                <a:t>Eglise</a:t>
              </a:r>
            </a:p>
          </p:txBody>
        </p:sp>
        <p:sp>
          <p:nvSpPr>
            <p:cNvPr id="47" name="ZoneTexte 46"/>
            <p:cNvSpPr txBox="1"/>
            <p:nvPr/>
          </p:nvSpPr>
          <p:spPr>
            <a:xfrm rot="20789742">
              <a:off x="4298516" y="2658098"/>
              <a:ext cx="58381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000" dirty="0">
                  <a:solidFill>
                    <a:srgbClr val="5FAFCF"/>
                  </a:solidFill>
                  <a:latin typeface="Brush Script MT" panose="03060802040406070304" pitchFamily="66" charset="0"/>
                </a:rPr>
                <a:t>Dieu</a:t>
              </a:r>
            </a:p>
          </p:txBody>
        </p:sp>
        <p:sp>
          <p:nvSpPr>
            <p:cNvPr id="48" name="ZoneTexte 47"/>
            <p:cNvSpPr txBox="1"/>
            <p:nvPr/>
          </p:nvSpPr>
          <p:spPr>
            <a:xfrm rot="21056575">
              <a:off x="7142143" y="4989710"/>
              <a:ext cx="5950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dirty="0">
                  <a:solidFill>
                    <a:srgbClr val="66BF8E"/>
                  </a:solidFill>
                  <a:latin typeface="Brush Script MT" panose="03060802040406070304" pitchFamily="66" charset="0"/>
                </a:rPr>
                <a:t>esprit</a:t>
              </a:r>
            </a:p>
          </p:txBody>
        </p:sp>
        <p:sp>
          <p:nvSpPr>
            <p:cNvPr id="49" name="ZoneTexte 48"/>
            <p:cNvSpPr txBox="1"/>
            <p:nvPr/>
          </p:nvSpPr>
          <p:spPr>
            <a:xfrm rot="720000">
              <a:off x="6091289" y="5388148"/>
              <a:ext cx="122020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400" dirty="0">
                  <a:solidFill>
                    <a:srgbClr val="C8A784"/>
                  </a:solidFill>
                  <a:latin typeface="Brush Script MT" panose="03060802040406070304" pitchFamily="66" charset="0"/>
                </a:rPr>
                <a:t>communion</a:t>
              </a:r>
            </a:p>
          </p:txBody>
        </p:sp>
        <p:sp>
          <p:nvSpPr>
            <p:cNvPr id="50" name="ZoneTexte 49"/>
            <p:cNvSpPr txBox="1"/>
            <p:nvPr/>
          </p:nvSpPr>
          <p:spPr>
            <a:xfrm rot="720000">
              <a:off x="3136685" y="3773311"/>
              <a:ext cx="129234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FFAE5C"/>
                  </a:solidFill>
                  <a:latin typeface="Brush Script MT" panose="03060802040406070304" pitchFamily="66" charset="0"/>
                </a:rPr>
                <a:t>participer</a:t>
              </a:r>
            </a:p>
          </p:txBody>
        </p:sp>
        <p:sp>
          <p:nvSpPr>
            <p:cNvPr id="51" name="ZoneTexte 50"/>
            <p:cNvSpPr txBox="1"/>
            <p:nvPr/>
          </p:nvSpPr>
          <p:spPr>
            <a:xfrm rot="720000">
              <a:off x="3151465" y="4148096"/>
              <a:ext cx="2239716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5400" dirty="0">
                  <a:solidFill>
                    <a:srgbClr val="C8A784"/>
                  </a:solidFill>
                  <a:latin typeface="Brush Script MT" panose="03060802040406070304" pitchFamily="66" charset="0"/>
                </a:rPr>
                <a:t>témoigner</a:t>
              </a:r>
            </a:p>
          </p:txBody>
        </p:sp>
        <p:sp>
          <p:nvSpPr>
            <p:cNvPr id="52" name="ZoneTexte 51"/>
            <p:cNvSpPr txBox="1"/>
            <p:nvPr/>
          </p:nvSpPr>
          <p:spPr>
            <a:xfrm rot="720000">
              <a:off x="3099840" y="2668515"/>
              <a:ext cx="130837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C78E99"/>
                  </a:solidFill>
                  <a:latin typeface="Brush Script MT" panose="03060802040406070304" pitchFamily="66" charset="0"/>
                </a:rPr>
                <a:t>paroissial</a:t>
              </a:r>
            </a:p>
          </p:txBody>
        </p:sp>
        <p:sp>
          <p:nvSpPr>
            <p:cNvPr id="53" name="ZoneTexte 52"/>
            <p:cNvSpPr txBox="1"/>
            <p:nvPr/>
          </p:nvSpPr>
          <p:spPr>
            <a:xfrm rot="720000">
              <a:off x="3820662" y="5181879"/>
              <a:ext cx="139333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C78E99"/>
                  </a:solidFill>
                  <a:latin typeface="Brush Script MT" panose="03060802040406070304" pitchFamily="66" charset="0"/>
                </a:rPr>
                <a:t>sensibilités</a:t>
              </a:r>
            </a:p>
          </p:txBody>
        </p:sp>
        <p:sp>
          <p:nvSpPr>
            <p:cNvPr id="54" name="ZoneTexte 53"/>
            <p:cNvSpPr txBox="1"/>
            <p:nvPr/>
          </p:nvSpPr>
          <p:spPr>
            <a:xfrm rot="720000">
              <a:off x="6458450" y="4825190"/>
              <a:ext cx="70705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000" dirty="0">
                  <a:solidFill>
                    <a:srgbClr val="C78E99"/>
                  </a:solidFill>
                  <a:latin typeface="Brush Script MT" panose="03060802040406070304" pitchFamily="66" charset="0"/>
                </a:rPr>
                <a:t>Frères</a:t>
              </a:r>
            </a:p>
          </p:txBody>
        </p:sp>
        <p:sp>
          <p:nvSpPr>
            <p:cNvPr id="55" name="ZoneTexte 54"/>
            <p:cNvSpPr txBox="1"/>
            <p:nvPr/>
          </p:nvSpPr>
          <p:spPr>
            <a:xfrm rot="20877839">
              <a:off x="3739024" y="2455409"/>
              <a:ext cx="73609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FFAE5C"/>
                  </a:solidFill>
                  <a:latin typeface="Brush Script MT" panose="03060802040406070304" pitchFamily="66" charset="0"/>
                </a:rPr>
                <a:t>désir</a:t>
              </a:r>
            </a:p>
          </p:txBody>
        </p:sp>
        <p:sp>
          <p:nvSpPr>
            <p:cNvPr id="56" name="ZoneTexte 55"/>
            <p:cNvSpPr txBox="1"/>
            <p:nvPr/>
          </p:nvSpPr>
          <p:spPr>
            <a:xfrm rot="748900">
              <a:off x="3554913" y="3196707"/>
              <a:ext cx="88357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800" dirty="0">
                  <a:solidFill>
                    <a:srgbClr val="FFAE5C"/>
                  </a:solidFill>
                  <a:latin typeface="Brush Script MT" panose="03060802040406070304" pitchFamily="66" charset="0"/>
                </a:rPr>
                <a:t>amour</a:t>
              </a:r>
            </a:p>
          </p:txBody>
        </p:sp>
      </p:grpSp>
      <p:sp>
        <p:nvSpPr>
          <p:cNvPr id="2" name="ZoneTexte 1">
            <a:extLst>
              <a:ext uri="{FF2B5EF4-FFF2-40B4-BE49-F238E27FC236}">
                <a16:creationId xmlns:a16="http://schemas.microsoft.com/office/drawing/2014/main" id="{F0C8E700-BDFD-9C5B-0B0E-F7C6E72BDB18}"/>
              </a:ext>
            </a:extLst>
          </p:cNvPr>
          <p:cNvSpPr txBox="1"/>
          <p:nvPr/>
        </p:nvSpPr>
        <p:spPr>
          <a:xfrm rot="21056575">
            <a:off x="6687126" y="1237870"/>
            <a:ext cx="10967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rgbClr val="66BF8E"/>
                </a:solidFill>
                <a:latin typeface="Brush Script MT" panose="03060802040406070304" pitchFamily="66" charset="0"/>
              </a:rPr>
              <a:t>transmettre</a:t>
            </a:r>
          </a:p>
        </p:txBody>
      </p:sp>
    </p:spTree>
    <p:extLst>
      <p:ext uri="{BB962C8B-B14F-4D97-AF65-F5344CB8AC3E}">
        <p14:creationId xmlns:p14="http://schemas.microsoft.com/office/powerpoint/2010/main" val="252888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1" y="63238"/>
            <a:ext cx="12011890" cy="6636820"/>
            <a:chOff x="1" y="63238"/>
            <a:chExt cx="12011890" cy="6636820"/>
          </a:xfrm>
        </p:grpSpPr>
        <p:sp>
          <p:nvSpPr>
            <p:cNvPr id="8" name="Rectangle à coins arrondis 7"/>
            <p:cNvSpPr/>
            <p:nvPr/>
          </p:nvSpPr>
          <p:spPr>
            <a:xfrm>
              <a:off x="124691" y="133004"/>
              <a:ext cx="11887200" cy="6567054"/>
            </a:xfrm>
            <a:prstGeom prst="roundRect">
              <a:avLst>
                <a:gd name="adj" fmla="val 7173"/>
              </a:avLst>
            </a:prstGeom>
            <a:noFill/>
            <a:ln w="38100"/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" y="99752"/>
              <a:ext cx="997526" cy="10557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2"/>
            <a:srcRect r="39326" b="15289"/>
            <a:stretch/>
          </p:blipFill>
          <p:spPr>
            <a:xfrm>
              <a:off x="63472" y="63238"/>
              <a:ext cx="983933" cy="1161996"/>
            </a:xfrm>
            <a:prstGeom prst="rect">
              <a:avLst/>
            </a:prstGeom>
          </p:spPr>
        </p:pic>
      </p:grpSp>
      <p:pic>
        <p:nvPicPr>
          <p:cNvPr id="6" name="Picture 5" descr="b003abc5-7f03-439c-b4b4-60f0f114a25a@comete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505068" y="1023725"/>
            <a:ext cx="6380817" cy="4785612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5952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2</TotalTime>
  <Words>71</Words>
  <Application>Microsoft Office PowerPoint</Application>
  <PresentationFormat>Grand écran</PresentationFormat>
  <Paragraphs>44</Paragraphs>
  <Slides>6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3" baseType="lpstr">
      <vt:lpstr>Arial</vt:lpstr>
      <vt:lpstr>Brush Script MT</vt:lpstr>
      <vt:lpstr>Calibri</vt:lpstr>
      <vt:lpstr>Calibri Light</vt:lpstr>
      <vt:lpstr>Comic Sans MS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elson DOS SANTOS</dc:creator>
  <cp:lastModifiedBy>Agnieszka</cp:lastModifiedBy>
  <cp:revision>24</cp:revision>
  <dcterms:created xsi:type="dcterms:W3CDTF">2024-01-10T20:05:18Z</dcterms:created>
  <dcterms:modified xsi:type="dcterms:W3CDTF">2024-01-13T09:5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f666666-579e-4c80-8bd7-42ec62fad65d_Enabled">
    <vt:lpwstr>true</vt:lpwstr>
  </property>
  <property fmtid="{D5CDD505-2E9C-101B-9397-08002B2CF9AE}" pid="3" name="MSIP_Label_bf666666-579e-4c80-8bd7-42ec62fad65d_SetDate">
    <vt:lpwstr>2024-01-11T10:18:18Z</vt:lpwstr>
  </property>
  <property fmtid="{D5CDD505-2E9C-101B-9397-08002B2CF9AE}" pid="4" name="MSIP_Label_bf666666-579e-4c80-8bd7-42ec62fad65d_Method">
    <vt:lpwstr>Privileged</vt:lpwstr>
  </property>
  <property fmtid="{D5CDD505-2E9C-101B-9397-08002B2CF9AE}" pid="5" name="MSIP_Label_bf666666-579e-4c80-8bd7-42ec62fad65d_Name">
    <vt:lpwstr>C1 - public</vt:lpwstr>
  </property>
  <property fmtid="{D5CDD505-2E9C-101B-9397-08002B2CF9AE}" pid="6" name="MSIP_Label_bf666666-579e-4c80-8bd7-42ec62fad65d_SiteId">
    <vt:lpwstr>d52b49b7-0c8f-4d89-8c4f-f20517306e08</vt:lpwstr>
  </property>
  <property fmtid="{D5CDD505-2E9C-101B-9397-08002B2CF9AE}" pid="7" name="MSIP_Label_bf666666-579e-4c80-8bd7-42ec62fad65d_ActionId">
    <vt:lpwstr>120abba5-e1cb-43a0-b4dc-465a04932409</vt:lpwstr>
  </property>
  <property fmtid="{D5CDD505-2E9C-101B-9397-08002B2CF9AE}" pid="8" name="MSIP_Label_bf666666-579e-4c80-8bd7-42ec62fad65d_ContentBits">
    <vt:lpwstr>0</vt:lpwstr>
  </property>
</Properties>
</file>